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48" r:id="rId2"/>
  </p:sldMasterIdLst>
  <p:notesMasterIdLst>
    <p:notesMasterId r:id="rId13"/>
  </p:notesMasterIdLst>
  <p:sldIdLst>
    <p:sldId id="256" r:id="rId3"/>
    <p:sldId id="294" r:id="rId4"/>
    <p:sldId id="295" r:id="rId5"/>
    <p:sldId id="291" r:id="rId6"/>
    <p:sldId id="292" r:id="rId7"/>
    <p:sldId id="258" r:id="rId8"/>
    <p:sldId id="296" r:id="rId9"/>
    <p:sldId id="300" r:id="rId10"/>
    <p:sldId id="299" r:id="rId11"/>
    <p:sldId id="298"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2A725C-B157-80AA-FC1E-1CB43BF1FD5E}" name="Ware, Wendy" initials="WW" userId="S::wendy.ware@angloamerican.com::4e24ba76-4d27-4854-bc92-5bb3482c428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FFBE86"/>
    <a:srgbClr val="156082"/>
    <a:srgbClr val="67544D"/>
    <a:srgbClr val="A67D79"/>
    <a:srgbClr val="4EA72E"/>
    <a:srgbClr val="196B24"/>
    <a:srgbClr val="A02B93"/>
    <a:srgbClr val="0F9ED5"/>
    <a:srgbClr val="0504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6" autoAdjust="0"/>
    <p:restoredTop sz="70814" autoAdjust="0"/>
  </p:normalViewPr>
  <p:slideViewPr>
    <p:cSldViewPr snapToGrid="0">
      <p:cViewPr varScale="1">
        <p:scale>
          <a:sx n="59" d="100"/>
          <a:sy n="59" d="100"/>
        </p:scale>
        <p:origin x="1464" y="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mmy Powell" userId="35fb1409c2f5492d" providerId="LiveId" clId="{D904D860-1E22-4EF3-80E9-E756744B07B6}"/>
    <pc:docChg chg="delSld">
      <pc:chgData name="Tammy Powell" userId="35fb1409c2f5492d" providerId="LiveId" clId="{D904D860-1E22-4EF3-80E9-E756744B07B6}" dt="2024-08-29T07:54:01.044" v="1" actId="2696"/>
      <pc:docMkLst>
        <pc:docMk/>
      </pc:docMkLst>
      <pc:sldChg chg="del">
        <pc:chgData name="Tammy Powell" userId="35fb1409c2f5492d" providerId="LiveId" clId="{D904D860-1E22-4EF3-80E9-E756744B07B6}" dt="2024-08-29T07:53:57.660" v="0" actId="2696"/>
        <pc:sldMkLst>
          <pc:docMk/>
          <pc:sldMk cId="3471958581" sldId="260"/>
        </pc:sldMkLst>
      </pc:sldChg>
      <pc:sldChg chg="del">
        <pc:chgData name="Tammy Powell" userId="35fb1409c2f5492d" providerId="LiveId" clId="{D904D860-1E22-4EF3-80E9-E756744B07B6}" dt="2024-08-29T07:54:01.044" v="1" actId="2696"/>
        <pc:sldMkLst>
          <pc:docMk/>
          <pc:sldMk cId="3099477319" sldId="293"/>
        </pc:sldMkLst>
      </pc:sldChg>
    </pc:docChg>
  </pc:docChgLst>
  <pc:docChgLst>
    <pc:chgData name="Tammy Powell" userId="35fb1409c2f5492d" providerId="LiveId" clId="{D8C7C095-05C7-4F23-8B79-1A1530CB207C}"/>
    <pc:docChg chg="custSel addSld modSld sldOrd">
      <pc:chgData name="Tammy Powell" userId="35fb1409c2f5492d" providerId="LiveId" clId="{D8C7C095-05C7-4F23-8B79-1A1530CB207C}" dt="2024-08-26T11:54:03.703" v="741" actId="1076"/>
      <pc:docMkLst>
        <pc:docMk/>
      </pc:docMkLst>
      <pc:sldChg chg="addSp delSp modSp mod">
        <pc:chgData name="Tammy Powell" userId="35fb1409c2f5492d" providerId="LiveId" clId="{D8C7C095-05C7-4F23-8B79-1A1530CB207C}" dt="2024-08-26T11:30:13.818" v="268" actId="1076"/>
        <pc:sldMkLst>
          <pc:docMk/>
          <pc:sldMk cId="2893999532" sldId="256"/>
        </pc:sldMkLst>
        <pc:spChg chg="mod">
          <ac:chgData name="Tammy Powell" userId="35fb1409c2f5492d" providerId="LiveId" clId="{D8C7C095-05C7-4F23-8B79-1A1530CB207C}" dt="2024-08-26T11:28:48.124" v="266" actId="1076"/>
          <ac:spMkLst>
            <pc:docMk/>
            <pc:sldMk cId="2893999532" sldId="256"/>
            <ac:spMk id="3" creationId="{40B497E8-EBA3-662C-ACA4-01C96E855AC2}"/>
          </ac:spMkLst>
        </pc:spChg>
        <pc:spChg chg="add mod">
          <ac:chgData name="Tammy Powell" userId="35fb1409c2f5492d" providerId="LiveId" clId="{D8C7C095-05C7-4F23-8B79-1A1530CB207C}" dt="2024-08-26T11:30:13.818" v="268" actId="1076"/>
          <ac:spMkLst>
            <pc:docMk/>
            <pc:sldMk cId="2893999532" sldId="256"/>
            <ac:spMk id="11" creationId="{44722EB5-BEF1-16AB-321B-71C84D96C57E}"/>
          </ac:spMkLst>
        </pc:spChg>
        <pc:picChg chg="add mod">
          <ac:chgData name="Tammy Powell" userId="35fb1409c2f5492d" providerId="LiveId" clId="{D8C7C095-05C7-4F23-8B79-1A1530CB207C}" dt="2024-08-26T11:23:37.284" v="1"/>
          <ac:picMkLst>
            <pc:docMk/>
            <pc:sldMk cId="2893999532" sldId="256"/>
            <ac:picMk id="4" creationId="{FDF896F7-5891-6A41-87CB-232A89796E79}"/>
          </ac:picMkLst>
        </pc:picChg>
        <pc:picChg chg="del mod">
          <ac:chgData name="Tammy Powell" userId="35fb1409c2f5492d" providerId="LiveId" clId="{D8C7C095-05C7-4F23-8B79-1A1530CB207C}" dt="2024-08-26T11:25:17.279" v="41" actId="478"/>
          <ac:picMkLst>
            <pc:docMk/>
            <pc:sldMk cId="2893999532" sldId="256"/>
            <ac:picMk id="5" creationId="{E2D1507E-4AAB-1F73-A299-18BCF2297492}"/>
          </ac:picMkLst>
        </pc:picChg>
        <pc:picChg chg="add del mod">
          <ac:chgData name="Tammy Powell" userId="35fb1409c2f5492d" providerId="LiveId" clId="{D8C7C095-05C7-4F23-8B79-1A1530CB207C}" dt="2024-08-26T11:25:45.715" v="52" actId="478"/>
          <ac:picMkLst>
            <pc:docMk/>
            <pc:sldMk cId="2893999532" sldId="256"/>
            <ac:picMk id="6" creationId="{61832ADF-64B4-2589-21AE-DD04A72DA99E}"/>
          </ac:picMkLst>
        </pc:picChg>
        <pc:picChg chg="mod">
          <ac:chgData name="Tammy Powell" userId="35fb1409c2f5492d" providerId="LiveId" clId="{D8C7C095-05C7-4F23-8B79-1A1530CB207C}" dt="2024-08-26T11:24:13.910" v="11" actId="207"/>
          <ac:picMkLst>
            <pc:docMk/>
            <pc:sldMk cId="2893999532" sldId="256"/>
            <ac:picMk id="7" creationId="{1FA3E685-22C8-8B83-98D8-A6E5EA666B44}"/>
          </ac:picMkLst>
        </pc:picChg>
        <pc:picChg chg="add del mod">
          <ac:chgData name="Tammy Powell" userId="35fb1409c2f5492d" providerId="LiveId" clId="{D8C7C095-05C7-4F23-8B79-1A1530CB207C}" dt="2024-08-26T11:25:47.732" v="54" actId="478"/>
          <ac:picMkLst>
            <pc:docMk/>
            <pc:sldMk cId="2893999532" sldId="256"/>
            <ac:picMk id="8" creationId="{53140F91-7225-EDCF-AAAB-F7A845BD0D42}"/>
          </ac:picMkLst>
        </pc:picChg>
        <pc:picChg chg="add del mod">
          <ac:chgData name="Tammy Powell" userId="35fb1409c2f5492d" providerId="LiveId" clId="{D8C7C095-05C7-4F23-8B79-1A1530CB207C}" dt="2024-08-26T11:25:48.604" v="55" actId="478"/>
          <ac:picMkLst>
            <pc:docMk/>
            <pc:sldMk cId="2893999532" sldId="256"/>
            <ac:picMk id="9" creationId="{8751B5FE-1BBC-B2F4-BED0-2308F43F11FC}"/>
          </ac:picMkLst>
        </pc:picChg>
        <pc:picChg chg="add del mod">
          <ac:chgData name="Tammy Powell" userId="35fb1409c2f5492d" providerId="LiveId" clId="{D8C7C095-05C7-4F23-8B79-1A1530CB207C}" dt="2024-08-26T11:25:46.784" v="53" actId="478"/>
          <ac:picMkLst>
            <pc:docMk/>
            <pc:sldMk cId="2893999532" sldId="256"/>
            <ac:picMk id="10" creationId="{B31B5530-04CE-C74A-4806-2A71AF55413A}"/>
          </ac:picMkLst>
        </pc:picChg>
      </pc:sldChg>
      <pc:sldChg chg="addSp modSp mod">
        <pc:chgData name="Tammy Powell" userId="35fb1409c2f5492d" providerId="LiveId" clId="{D8C7C095-05C7-4F23-8B79-1A1530CB207C}" dt="2024-08-26T11:50:30.362" v="719" actId="14100"/>
        <pc:sldMkLst>
          <pc:docMk/>
          <pc:sldMk cId="2204377423" sldId="258"/>
        </pc:sldMkLst>
        <pc:spChg chg="mod">
          <ac:chgData name="Tammy Powell" userId="35fb1409c2f5492d" providerId="LiveId" clId="{D8C7C095-05C7-4F23-8B79-1A1530CB207C}" dt="2024-08-26T11:48:47.408" v="691" actId="164"/>
          <ac:spMkLst>
            <pc:docMk/>
            <pc:sldMk cId="2204377423" sldId="258"/>
            <ac:spMk id="2" creationId="{760E509C-F1BE-7854-498F-EA4862141DE3}"/>
          </ac:spMkLst>
        </pc:spChg>
        <pc:spChg chg="mod">
          <ac:chgData name="Tammy Powell" userId="35fb1409c2f5492d" providerId="LiveId" clId="{D8C7C095-05C7-4F23-8B79-1A1530CB207C}" dt="2024-08-26T11:48:47.408" v="691" actId="164"/>
          <ac:spMkLst>
            <pc:docMk/>
            <pc:sldMk cId="2204377423" sldId="258"/>
            <ac:spMk id="3" creationId="{E131F5BC-7EFE-2795-EB95-53A2CC0307A1}"/>
          </ac:spMkLst>
        </pc:spChg>
        <pc:spChg chg="mod">
          <ac:chgData name="Tammy Powell" userId="35fb1409c2f5492d" providerId="LiveId" clId="{D8C7C095-05C7-4F23-8B79-1A1530CB207C}" dt="2024-08-26T11:48:47.408" v="691" actId="164"/>
          <ac:spMkLst>
            <pc:docMk/>
            <pc:sldMk cId="2204377423" sldId="258"/>
            <ac:spMk id="4" creationId="{BF02B596-DDDC-DCED-1C96-E90CD71781E8}"/>
          </ac:spMkLst>
        </pc:spChg>
        <pc:spChg chg="mod">
          <ac:chgData name="Tammy Powell" userId="35fb1409c2f5492d" providerId="LiveId" clId="{D8C7C095-05C7-4F23-8B79-1A1530CB207C}" dt="2024-08-26T11:50:30.362" v="719" actId="14100"/>
          <ac:spMkLst>
            <pc:docMk/>
            <pc:sldMk cId="2204377423" sldId="258"/>
            <ac:spMk id="6" creationId="{B29A9BFA-4CBE-212A-7279-B94F9AD7A5B4}"/>
          </ac:spMkLst>
        </pc:spChg>
        <pc:spChg chg="mod">
          <ac:chgData name="Tammy Powell" userId="35fb1409c2f5492d" providerId="LiveId" clId="{D8C7C095-05C7-4F23-8B79-1A1530CB207C}" dt="2024-08-26T11:48:47.408" v="691" actId="164"/>
          <ac:spMkLst>
            <pc:docMk/>
            <pc:sldMk cId="2204377423" sldId="258"/>
            <ac:spMk id="10" creationId="{0024BA28-FD47-91D3-09CC-AF04D7B38377}"/>
          </ac:spMkLst>
        </pc:spChg>
        <pc:spChg chg="mod">
          <ac:chgData name="Tammy Powell" userId="35fb1409c2f5492d" providerId="LiveId" clId="{D8C7C095-05C7-4F23-8B79-1A1530CB207C}" dt="2024-08-26T11:48:47.408" v="691" actId="164"/>
          <ac:spMkLst>
            <pc:docMk/>
            <pc:sldMk cId="2204377423" sldId="258"/>
            <ac:spMk id="11" creationId="{5ADA312E-5C81-2431-AE38-516F5B2E21FD}"/>
          </ac:spMkLst>
        </pc:spChg>
        <pc:spChg chg="mod">
          <ac:chgData name="Tammy Powell" userId="35fb1409c2f5492d" providerId="LiveId" clId="{D8C7C095-05C7-4F23-8B79-1A1530CB207C}" dt="2024-08-26T11:48:47.408" v="691" actId="164"/>
          <ac:spMkLst>
            <pc:docMk/>
            <pc:sldMk cId="2204377423" sldId="258"/>
            <ac:spMk id="15" creationId="{343798C5-2604-FA19-0767-23BCFC1FBC3E}"/>
          </ac:spMkLst>
        </pc:spChg>
        <pc:spChg chg="mod">
          <ac:chgData name="Tammy Powell" userId="35fb1409c2f5492d" providerId="LiveId" clId="{D8C7C095-05C7-4F23-8B79-1A1530CB207C}" dt="2024-08-26T11:48:47.408" v="691" actId="164"/>
          <ac:spMkLst>
            <pc:docMk/>
            <pc:sldMk cId="2204377423" sldId="258"/>
            <ac:spMk id="17" creationId="{8491C307-C6AA-24F7-5BE8-A886954A2C3F}"/>
          </ac:spMkLst>
        </pc:spChg>
        <pc:spChg chg="mod">
          <ac:chgData name="Tammy Powell" userId="35fb1409c2f5492d" providerId="LiveId" clId="{D8C7C095-05C7-4F23-8B79-1A1530CB207C}" dt="2024-08-26T11:50:23.406" v="718" actId="20577"/>
          <ac:spMkLst>
            <pc:docMk/>
            <pc:sldMk cId="2204377423" sldId="258"/>
            <ac:spMk id="21" creationId="{74F20047-72D6-937B-866D-C945172D1002}"/>
          </ac:spMkLst>
        </pc:spChg>
        <pc:spChg chg="mod">
          <ac:chgData name="Tammy Powell" userId="35fb1409c2f5492d" providerId="LiveId" clId="{D8C7C095-05C7-4F23-8B79-1A1530CB207C}" dt="2024-08-26T11:49:46.039" v="695" actId="1076"/>
          <ac:spMkLst>
            <pc:docMk/>
            <pc:sldMk cId="2204377423" sldId="258"/>
            <ac:spMk id="23" creationId="{ADD4BFB1-F478-23BE-7EE1-7555A6D67C56}"/>
          </ac:spMkLst>
        </pc:spChg>
        <pc:grpChg chg="add mod">
          <ac:chgData name="Tammy Powell" userId="35fb1409c2f5492d" providerId="LiveId" clId="{D8C7C095-05C7-4F23-8B79-1A1530CB207C}" dt="2024-08-26T11:48:50.628" v="692" actId="1076"/>
          <ac:grpSpMkLst>
            <pc:docMk/>
            <pc:sldMk cId="2204377423" sldId="258"/>
            <ac:grpSpMk id="5" creationId="{2CC6C58D-ED1C-FEC3-B46A-3FA6AD0825E7}"/>
          </ac:grpSpMkLst>
        </pc:grpChg>
        <pc:grpChg chg="mod">
          <ac:chgData name="Tammy Powell" userId="35fb1409c2f5492d" providerId="LiveId" clId="{D8C7C095-05C7-4F23-8B79-1A1530CB207C}" dt="2024-08-26T11:49:26.863" v="693" actId="1076"/>
          <ac:grpSpMkLst>
            <pc:docMk/>
            <pc:sldMk cId="2204377423" sldId="258"/>
            <ac:grpSpMk id="31" creationId="{4E63E5CF-7A0C-5D35-B56F-9E0EB2DDB947}"/>
          </ac:grpSpMkLst>
        </pc:grpChg>
      </pc:sldChg>
      <pc:sldChg chg="ord">
        <pc:chgData name="Tammy Powell" userId="35fb1409c2f5492d" providerId="LiveId" clId="{D8C7C095-05C7-4F23-8B79-1A1530CB207C}" dt="2024-08-26T11:48:21.790" v="690"/>
        <pc:sldMkLst>
          <pc:docMk/>
          <pc:sldMk cId="730908445" sldId="259"/>
        </pc:sldMkLst>
      </pc:sldChg>
      <pc:sldChg chg="addSp delSp modSp mod">
        <pc:chgData name="Tammy Powell" userId="35fb1409c2f5492d" providerId="LiveId" clId="{D8C7C095-05C7-4F23-8B79-1A1530CB207C}" dt="2024-08-26T11:54:03.703" v="741" actId="1076"/>
        <pc:sldMkLst>
          <pc:docMk/>
          <pc:sldMk cId="3471958581" sldId="260"/>
        </pc:sldMkLst>
        <pc:spChg chg="add del mod">
          <ac:chgData name="Tammy Powell" userId="35fb1409c2f5492d" providerId="LiveId" clId="{D8C7C095-05C7-4F23-8B79-1A1530CB207C}" dt="2024-08-26T11:37:22.475" v="314" actId="478"/>
          <ac:spMkLst>
            <pc:docMk/>
            <pc:sldMk cId="3471958581" sldId="260"/>
            <ac:spMk id="2" creationId="{D2DC82B7-7363-0AB1-698F-FCEA0161DA87}"/>
          </ac:spMkLst>
        </pc:spChg>
        <pc:spChg chg="add mod">
          <ac:chgData name="Tammy Powell" userId="35fb1409c2f5492d" providerId="LiveId" clId="{D8C7C095-05C7-4F23-8B79-1A1530CB207C}" dt="2024-08-26T11:54:01.413" v="740" actId="14100"/>
          <ac:spMkLst>
            <pc:docMk/>
            <pc:sldMk cId="3471958581" sldId="260"/>
            <ac:spMk id="3" creationId="{71AE09C8-43E5-1907-4ACF-704E4494BF2D}"/>
          </ac:spMkLst>
        </pc:spChg>
        <pc:picChg chg="add mod">
          <ac:chgData name="Tammy Powell" userId="35fb1409c2f5492d" providerId="LiveId" clId="{D8C7C095-05C7-4F23-8B79-1A1530CB207C}" dt="2024-08-26T11:54:03.703" v="741" actId="1076"/>
          <ac:picMkLst>
            <pc:docMk/>
            <pc:sldMk cId="3471958581" sldId="260"/>
            <ac:picMk id="1026" creationId="{FD6B45EF-0D1E-1597-209E-8482F66400CF}"/>
          </ac:picMkLst>
        </pc:picChg>
      </pc:sldChg>
      <pc:sldChg chg="addSp delSp modSp new mod">
        <pc:chgData name="Tammy Powell" userId="35fb1409c2f5492d" providerId="LiveId" clId="{D8C7C095-05C7-4F23-8B79-1A1530CB207C}" dt="2024-08-26T11:47:02.225" v="655" actId="1076"/>
        <pc:sldMkLst>
          <pc:docMk/>
          <pc:sldMk cId="3099477319" sldId="293"/>
        </pc:sldMkLst>
        <pc:spChg chg="add mod">
          <ac:chgData name="Tammy Powell" userId="35fb1409c2f5492d" providerId="LiveId" clId="{D8C7C095-05C7-4F23-8B79-1A1530CB207C}" dt="2024-08-26T11:43:10.599" v="452" actId="14100"/>
          <ac:spMkLst>
            <pc:docMk/>
            <pc:sldMk cId="3099477319" sldId="293"/>
            <ac:spMk id="2" creationId="{A137827B-CE2E-B0A1-A5C5-8B8311E18A54}"/>
          </ac:spMkLst>
        </pc:spChg>
        <pc:spChg chg="add del mod">
          <ac:chgData name="Tammy Powell" userId="35fb1409c2f5492d" providerId="LiveId" clId="{D8C7C095-05C7-4F23-8B79-1A1530CB207C}" dt="2024-08-26T11:46:16.710" v="556"/>
          <ac:spMkLst>
            <pc:docMk/>
            <pc:sldMk cId="3099477319" sldId="293"/>
            <ac:spMk id="5" creationId="{779C5BFA-96B7-C97A-E2C2-CCC454E5F169}"/>
          </ac:spMkLst>
        </pc:spChg>
        <pc:spChg chg="add mod">
          <ac:chgData name="Tammy Powell" userId="35fb1409c2f5492d" providerId="LiveId" clId="{D8C7C095-05C7-4F23-8B79-1A1530CB207C}" dt="2024-08-26T11:47:02.225" v="655" actId="1076"/>
          <ac:spMkLst>
            <pc:docMk/>
            <pc:sldMk cId="3099477319" sldId="293"/>
            <ac:spMk id="6" creationId="{ED2A28AB-8913-7F0B-4042-DDC89E77DCD0}"/>
          </ac:spMkLst>
        </pc:spChg>
        <pc:picChg chg="add mod">
          <ac:chgData name="Tammy Powell" userId="35fb1409c2f5492d" providerId="LiveId" clId="{D8C7C095-05C7-4F23-8B79-1A1530CB207C}" dt="2024-08-26T11:46:15.830" v="554" actId="207"/>
          <ac:picMkLst>
            <pc:docMk/>
            <pc:sldMk cId="3099477319" sldId="293"/>
            <ac:picMk id="4" creationId="{39D61A37-57D2-C0D8-9682-4E511BB825E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B1903C-75FD-4231-B003-33ACD44E731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1F06EB0-6EAF-4F3B-AE66-1BC26F58B844}">
      <dgm:prSet phldrT="[Text]"/>
      <dgm:spPr>
        <a:solidFill>
          <a:schemeClr val="accent1">
            <a:lumMod val="75000"/>
          </a:schemeClr>
        </a:solidFill>
        <a:ln>
          <a:noFill/>
        </a:ln>
        <a:effectLst>
          <a:outerShdw blurRad="50800" dist="38100" dir="2700000" algn="tl" rotWithShape="0">
            <a:prstClr val="black">
              <a:alpha val="40000"/>
            </a:prstClr>
          </a:outerShdw>
        </a:effectLst>
      </dgm:spPr>
      <dgm:t>
        <a:bodyPr/>
        <a:lstStyle/>
        <a:p>
          <a:r>
            <a:rPr lang="en-US" dirty="0"/>
            <a:t>Data Input</a:t>
          </a:r>
        </a:p>
      </dgm:t>
    </dgm:pt>
    <dgm:pt modelId="{012B21C1-CEF5-4F30-8E9B-5FFF7959E7E1}" type="parTrans" cxnId="{50AFC76F-8053-48A4-BC56-389E4866F407}">
      <dgm:prSet/>
      <dgm:spPr/>
      <dgm:t>
        <a:bodyPr/>
        <a:lstStyle/>
        <a:p>
          <a:endParaRPr lang="en-US"/>
        </a:p>
      </dgm:t>
    </dgm:pt>
    <dgm:pt modelId="{89A04EA5-D10C-40A2-B9BE-2F816418F410}" type="sibTrans" cxnId="{50AFC76F-8053-48A4-BC56-389E4866F407}">
      <dgm:prSet/>
      <dgm:spPr/>
      <dgm:t>
        <a:bodyPr/>
        <a:lstStyle/>
        <a:p>
          <a:endParaRPr lang="en-US"/>
        </a:p>
      </dgm:t>
    </dgm:pt>
    <dgm:pt modelId="{E8DFBBF1-F1AE-45D6-A9E0-354BF08CFF81}">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Diverse Language Support</a:t>
          </a:r>
        </a:p>
      </dgm:t>
    </dgm:pt>
    <dgm:pt modelId="{AE954163-7127-4B98-A5BD-0971287D54E6}" type="parTrans" cxnId="{C786A24F-19C5-4FA5-AC3A-0D0851D6FE3D}">
      <dgm:prSet/>
      <dgm:spPr/>
      <dgm:t>
        <a:bodyPr/>
        <a:lstStyle/>
        <a:p>
          <a:endParaRPr lang="en-US"/>
        </a:p>
      </dgm:t>
    </dgm:pt>
    <dgm:pt modelId="{5B96807F-2ACB-4F9B-AE96-A764AAF1A6F3}" type="sibTrans" cxnId="{C786A24F-19C5-4FA5-AC3A-0D0851D6FE3D}">
      <dgm:prSet/>
      <dgm:spPr/>
      <dgm:t>
        <a:bodyPr/>
        <a:lstStyle/>
        <a:p>
          <a:endParaRPr lang="en-US"/>
        </a:p>
      </dgm:t>
    </dgm:pt>
    <dgm:pt modelId="{02D64AA7-ACDC-42A4-B40D-E6FF50FAF53C}">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ich Metadata Integration</a:t>
          </a:r>
        </a:p>
      </dgm:t>
    </dgm:pt>
    <dgm:pt modelId="{542BFF6A-5F22-4006-B166-D76CF6C39AA7}" type="parTrans" cxnId="{A4CB8155-60A6-4A72-AEA8-C2D1DCE02B19}">
      <dgm:prSet/>
      <dgm:spPr/>
      <dgm:t>
        <a:bodyPr/>
        <a:lstStyle/>
        <a:p>
          <a:endParaRPr lang="en-US"/>
        </a:p>
      </dgm:t>
    </dgm:pt>
    <dgm:pt modelId="{8A64C0C5-ADFA-4750-8A66-08EBD6400B71}" type="sibTrans" cxnId="{A4CB8155-60A6-4A72-AEA8-C2D1DCE02B19}">
      <dgm:prSet/>
      <dgm:spPr/>
      <dgm:t>
        <a:bodyPr/>
        <a:lstStyle/>
        <a:p>
          <a:endParaRPr lang="en-US"/>
        </a:p>
      </dgm:t>
    </dgm:pt>
    <dgm:pt modelId="{C9386C5C-2C0E-48EA-A0D1-8A5E098354A6}">
      <dgm:prSet phldrT="[Text]"/>
      <dgm:spPr>
        <a:solidFill>
          <a:schemeClr val="accent3">
            <a:lumMod val="75000"/>
          </a:schemeClr>
        </a:solidFill>
        <a:ln>
          <a:noFill/>
        </a:ln>
        <a:effectLst>
          <a:outerShdw blurRad="50800" dist="38100" dir="2700000" algn="tl" rotWithShape="0">
            <a:prstClr val="black">
              <a:alpha val="40000"/>
            </a:prstClr>
          </a:outerShdw>
        </a:effectLst>
      </dgm:spPr>
      <dgm:t>
        <a:bodyPr/>
        <a:lstStyle/>
        <a:p>
          <a:r>
            <a:rPr lang="en-US" dirty="0"/>
            <a:t>Pre-processing &amp; Feature Engineering</a:t>
          </a:r>
        </a:p>
      </dgm:t>
    </dgm:pt>
    <dgm:pt modelId="{549B0EA6-1E9E-4441-9755-339FBD35DEC8}" type="parTrans" cxnId="{2BC18923-2EB8-41C0-82DE-89CD92B319F9}">
      <dgm:prSet/>
      <dgm:spPr/>
      <dgm:t>
        <a:bodyPr/>
        <a:lstStyle/>
        <a:p>
          <a:endParaRPr lang="en-US"/>
        </a:p>
      </dgm:t>
    </dgm:pt>
    <dgm:pt modelId="{8F592507-64D1-437A-8293-6BEA4B0EF2D3}" type="sibTrans" cxnId="{2BC18923-2EB8-41C0-82DE-89CD92B319F9}">
      <dgm:prSet/>
      <dgm:spPr/>
      <dgm:t>
        <a:bodyPr/>
        <a:lstStyle/>
        <a:p>
          <a:endParaRPr lang="en-US"/>
        </a:p>
      </dgm:t>
    </dgm:pt>
    <dgm:pt modelId="{26D21917-2F84-46B5-9732-24192F03E826}">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Punctuation &amp; Grammar Analysis</a:t>
          </a:r>
        </a:p>
      </dgm:t>
    </dgm:pt>
    <dgm:pt modelId="{29B48E29-C059-4F1E-A7AB-62325FF84ABD}" type="parTrans" cxnId="{152C92E0-AACB-4215-9113-18EC8770E0E4}">
      <dgm:prSet/>
      <dgm:spPr/>
      <dgm:t>
        <a:bodyPr/>
        <a:lstStyle/>
        <a:p>
          <a:endParaRPr lang="en-US"/>
        </a:p>
      </dgm:t>
    </dgm:pt>
    <dgm:pt modelId="{0BBF1F5F-FD2C-40B2-8A17-B3DCD47DEFF6}" type="sibTrans" cxnId="{152C92E0-AACB-4215-9113-18EC8770E0E4}">
      <dgm:prSet/>
      <dgm:spPr/>
      <dgm:t>
        <a:bodyPr/>
        <a:lstStyle/>
        <a:p>
          <a:endParaRPr lang="en-US"/>
        </a:p>
      </dgm:t>
    </dgm:pt>
    <dgm:pt modelId="{EAB5946F-4806-45A0-BB02-55752012FE37}">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Semantic &amp; </a:t>
          </a:r>
          <a:r>
            <a:rPr lang="en-US" dirty="0" err="1"/>
            <a:t>Stopword</a:t>
          </a:r>
          <a:r>
            <a:rPr lang="en-US" dirty="0"/>
            <a:t> Features</a:t>
          </a:r>
        </a:p>
      </dgm:t>
    </dgm:pt>
    <dgm:pt modelId="{CA35AA88-85D3-49F7-B9FF-518A3EFD1513}" type="parTrans" cxnId="{40371FE2-0861-4B9D-8370-6AB963052D6B}">
      <dgm:prSet/>
      <dgm:spPr/>
      <dgm:t>
        <a:bodyPr/>
        <a:lstStyle/>
        <a:p>
          <a:endParaRPr lang="en-US"/>
        </a:p>
      </dgm:t>
    </dgm:pt>
    <dgm:pt modelId="{AF029723-20C2-475B-8158-F5EC0994BE3F}" type="sibTrans" cxnId="{40371FE2-0861-4B9D-8370-6AB963052D6B}">
      <dgm:prSet/>
      <dgm:spPr/>
      <dgm:t>
        <a:bodyPr/>
        <a:lstStyle/>
        <a:p>
          <a:endParaRPr lang="en-US"/>
        </a:p>
      </dgm:t>
    </dgm:pt>
    <dgm:pt modelId="{84E01BEB-2681-4984-86D7-4A5956858195}">
      <dgm:prSet phldrT="[Text]"/>
      <dgm:spPr>
        <a:solidFill>
          <a:schemeClr val="accent5">
            <a:lumMod val="75000"/>
          </a:schemeClr>
        </a:solidFill>
        <a:ln>
          <a:noFill/>
        </a:ln>
        <a:effectLst>
          <a:outerShdw blurRad="50800" dist="38100" dir="2700000" algn="tl" rotWithShape="0">
            <a:prstClr val="black">
              <a:alpha val="40000"/>
            </a:prstClr>
          </a:outerShdw>
        </a:effectLst>
      </dgm:spPr>
      <dgm:t>
        <a:bodyPr/>
        <a:lstStyle/>
        <a:p>
          <a:r>
            <a:rPr lang="en-US" i="0" dirty="0"/>
            <a:t>Model Enhancements</a:t>
          </a:r>
        </a:p>
      </dgm:t>
    </dgm:pt>
    <dgm:pt modelId="{C0F1E3DB-D712-4736-B1AF-FB3753E08149}" type="parTrans" cxnId="{5B23703A-B102-46C7-BB5C-8076EFE451D9}">
      <dgm:prSet/>
      <dgm:spPr/>
      <dgm:t>
        <a:bodyPr/>
        <a:lstStyle/>
        <a:p>
          <a:endParaRPr lang="en-US"/>
        </a:p>
      </dgm:t>
    </dgm:pt>
    <dgm:pt modelId="{69C970DD-5C38-4B9D-930D-DA5D3D0C2978}" type="sibTrans" cxnId="{5B23703A-B102-46C7-BB5C-8076EFE451D9}">
      <dgm:prSet/>
      <dgm:spPr/>
      <dgm:t>
        <a:bodyPr/>
        <a:lstStyle/>
        <a:p>
          <a:endParaRPr lang="en-US"/>
        </a:p>
      </dgm:t>
    </dgm:pt>
    <dgm:pt modelId="{AB25328B-8F84-460B-9112-1151B34F01A3}">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a:t>Context-aware Models</a:t>
          </a:r>
        </a:p>
      </dgm:t>
    </dgm:pt>
    <dgm:pt modelId="{C36013A1-0651-4CD6-B223-9864CF0006D0}" type="parTrans" cxnId="{D42CAD52-E28E-415B-BA6F-E347FF0DD74E}">
      <dgm:prSet/>
      <dgm:spPr/>
      <dgm:t>
        <a:bodyPr/>
        <a:lstStyle/>
        <a:p>
          <a:endParaRPr lang="en-US"/>
        </a:p>
      </dgm:t>
    </dgm:pt>
    <dgm:pt modelId="{5DFB7771-9597-4BCC-A117-F2BC0D5D5C91}" type="sibTrans" cxnId="{D42CAD52-E28E-415B-BA6F-E347FF0DD74E}">
      <dgm:prSet/>
      <dgm:spPr/>
      <dgm:t>
        <a:bodyPr/>
        <a:lstStyle/>
        <a:p>
          <a:endParaRPr lang="en-US"/>
        </a:p>
      </dgm:t>
    </dgm:pt>
    <dgm:pt modelId="{3FAADCBB-BFEA-4764-8572-C76C0D8663B3}">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eal-Time Feedback Loop</a:t>
          </a:r>
        </a:p>
      </dgm:t>
    </dgm:pt>
    <dgm:pt modelId="{5C3780E0-05AA-4A4D-B705-ECB544173C19}" type="parTrans" cxnId="{F00EEAE4-0AB4-4A2D-B2F2-E1531471DB54}">
      <dgm:prSet/>
      <dgm:spPr/>
      <dgm:t>
        <a:bodyPr/>
        <a:lstStyle/>
        <a:p>
          <a:endParaRPr lang="en-US"/>
        </a:p>
      </dgm:t>
    </dgm:pt>
    <dgm:pt modelId="{5734AA50-5635-4920-89E5-D1E3557731DC}" type="sibTrans" cxnId="{F00EEAE4-0AB4-4A2D-B2F2-E1531471DB54}">
      <dgm:prSet/>
      <dgm:spPr/>
      <dgm:t>
        <a:bodyPr/>
        <a:lstStyle/>
        <a:p>
          <a:endParaRPr lang="en-US"/>
        </a:p>
      </dgm:t>
    </dgm:pt>
    <dgm:pt modelId="{3AA532A2-9BEA-4E09-86FD-82E98AFEAF44}">
      <dgm:prSet phldrT="[Text]"/>
      <dgm:spPr>
        <a:solidFill>
          <a:schemeClr val="accent2">
            <a:lumMod val="75000"/>
          </a:schemeClr>
        </a:solidFill>
        <a:ln>
          <a:noFill/>
        </a:ln>
        <a:effectLst>
          <a:outerShdw blurRad="50800" dist="38100" dir="2700000" algn="tl" rotWithShape="0">
            <a:prstClr val="black">
              <a:alpha val="40000"/>
            </a:prstClr>
          </a:outerShdw>
        </a:effectLst>
      </dgm:spPr>
      <dgm:t>
        <a:bodyPr/>
        <a:lstStyle/>
        <a:p>
          <a:r>
            <a:rPr lang="en-US" i="0" dirty="0"/>
            <a:t>Continuous Learning</a:t>
          </a:r>
        </a:p>
      </dgm:t>
    </dgm:pt>
    <dgm:pt modelId="{E5A7CF5F-4DAC-492A-99C2-506EC0559CF5}" type="parTrans" cxnId="{674EDD93-68C3-454D-BDE9-888A1666D0B2}">
      <dgm:prSet/>
      <dgm:spPr/>
      <dgm:t>
        <a:bodyPr/>
        <a:lstStyle/>
        <a:p>
          <a:endParaRPr lang="en-US"/>
        </a:p>
      </dgm:t>
    </dgm:pt>
    <dgm:pt modelId="{BCED8313-A6D4-4045-988C-E1A6443D1D67}" type="sibTrans" cxnId="{674EDD93-68C3-454D-BDE9-888A1666D0B2}">
      <dgm:prSet/>
      <dgm:spPr/>
      <dgm:t>
        <a:bodyPr/>
        <a:lstStyle/>
        <a:p>
          <a:endParaRPr lang="en-US"/>
        </a:p>
      </dgm:t>
    </dgm:pt>
    <dgm:pt modelId="{11027371-DAD9-4B3C-99DD-5EDEEBB3BCE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Balanced Dataset Composition</a:t>
          </a:r>
        </a:p>
      </dgm:t>
    </dgm:pt>
    <dgm:pt modelId="{11BF591E-4AA6-4034-8FBE-D6B6C4D70C6E}" type="parTrans" cxnId="{DBA74428-1C06-47D6-A6DA-9B15A606CA09}">
      <dgm:prSet/>
      <dgm:spPr/>
      <dgm:t>
        <a:bodyPr/>
        <a:lstStyle/>
        <a:p>
          <a:endParaRPr lang="en-US"/>
        </a:p>
      </dgm:t>
    </dgm:pt>
    <dgm:pt modelId="{0A5D3EC1-BEED-4B57-B0D7-363173219CDC}" type="sibTrans" cxnId="{DBA74428-1C06-47D6-A6DA-9B15A606CA09}">
      <dgm:prSet/>
      <dgm:spPr/>
      <dgm:t>
        <a:bodyPr/>
        <a:lstStyle/>
        <a:p>
          <a:endParaRPr lang="en-US"/>
        </a:p>
      </dgm:t>
    </dgm:pt>
    <dgm:pt modelId="{5A72C403-B206-4A1B-ADB0-64341A4BA3B9}">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err="1"/>
            <a:t>Scaleability</a:t>
          </a:r>
          <a:r>
            <a:rPr lang="en-US" i="0" dirty="0"/>
            <a:t> &amp; Deployment</a:t>
          </a:r>
        </a:p>
      </dgm:t>
    </dgm:pt>
    <dgm:pt modelId="{76F4B480-7C56-48DA-AB5B-8168B169D912}" type="parTrans" cxnId="{37464A1D-31D2-4B74-AD00-1BDE97020909}">
      <dgm:prSet/>
      <dgm:spPr/>
      <dgm:t>
        <a:bodyPr/>
        <a:lstStyle/>
        <a:p>
          <a:endParaRPr lang="en-US"/>
        </a:p>
      </dgm:t>
    </dgm:pt>
    <dgm:pt modelId="{377D7B09-2504-48B4-9E7A-29C5DCE875A4}" type="sibTrans" cxnId="{37464A1D-31D2-4B74-AD00-1BDE97020909}">
      <dgm:prSet/>
      <dgm:spPr/>
      <dgm:t>
        <a:bodyPr/>
        <a:lstStyle/>
        <a:p>
          <a:endParaRPr lang="en-US"/>
        </a:p>
      </dgm:t>
    </dgm:pt>
    <dgm:pt modelId="{7EA8C824-18F1-47C3-8BEA-FA6E26414B6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Ethical Audits &amp; Transparency</a:t>
          </a:r>
        </a:p>
      </dgm:t>
    </dgm:pt>
    <dgm:pt modelId="{E56CCC7C-4523-421A-863F-55CF8CCE8ACF}" type="parTrans" cxnId="{415D706F-7970-44A6-A2B8-A11CF7E614A0}">
      <dgm:prSet/>
      <dgm:spPr/>
      <dgm:t>
        <a:bodyPr/>
        <a:lstStyle/>
        <a:p>
          <a:endParaRPr lang="en-US"/>
        </a:p>
      </dgm:t>
    </dgm:pt>
    <dgm:pt modelId="{5A607607-073C-44F9-B9C7-75FB8ECE712D}" type="sibTrans" cxnId="{415D706F-7970-44A6-A2B8-A11CF7E614A0}">
      <dgm:prSet/>
      <dgm:spPr/>
      <dgm:t>
        <a:bodyPr/>
        <a:lstStyle/>
        <a:p>
          <a:endParaRPr lang="en-US"/>
        </a:p>
      </dgm:t>
    </dgm:pt>
    <dgm:pt modelId="{E72D83C6-634E-426E-BF08-36F239649C4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08F67FF-BC7D-4D4E-8544-3DCFFF60D0E6}" type="parTrans" cxnId="{3DE84CA5-0FEF-4F1F-98EA-C626479A9CC9}">
      <dgm:prSet/>
      <dgm:spPr/>
      <dgm:t>
        <a:bodyPr/>
        <a:lstStyle/>
        <a:p>
          <a:endParaRPr lang="en-US"/>
        </a:p>
      </dgm:t>
    </dgm:pt>
    <dgm:pt modelId="{466191A6-C9E6-4E58-BEDD-84B705F27327}" type="sibTrans" cxnId="{3DE84CA5-0FEF-4F1F-98EA-C626479A9CC9}">
      <dgm:prSet/>
      <dgm:spPr/>
      <dgm:t>
        <a:bodyPr/>
        <a:lstStyle/>
        <a:p>
          <a:endParaRPr lang="en-US"/>
        </a:p>
      </dgm:t>
    </dgm:pt>
    <dgm:pt modelId="{775BD321-F0D2-46F1-976E-A9CA1022C8E5}">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BCBC5B1-3729-4CE9-AD74-A1F76113E3C4}" type="parTrans" cxnId="{76DC66E0-690A-4004-A8EC-5848AF891528}">
      <dgm:prSet/>
      <dgm:spPr/>
      <dgm:t>
        <a:bodyPr/>
        <a:lstStyle/>
        <a:p>
          <a:endParaRPr lang="en-US"/>
        </a:p>
      </dgm:t>
    </dgm:pt>
    <dgm:pt modelId="{779B3E21-4F83-4B34-95DE-B77F7E4EDD9C}" type="sibTrans" cxnId="{76DC66E0-690A-4004-A8EC-5848AF891528}">
      <dgm:prSet/>
      <dgm:spPr/>
      <dgm:t>
        <a:bodyPr/>
        <a:lstStyle/>
        <a:p>
          <a:endParaRPr lang="en-US"/>
        </a:p>
      </dgm:t>
    </dgm:pt>
    <dgm:pt modelId="{44F12249-58CF-4F47-A4D5-B78E1E7F0AC5}">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7998F0A6-6087-4CEE-808B-43A3A2946048}" type="parTrans" cxnId="{8DD1F142-5BF5-4BD7-A745-892B6759C65A}">
      <dgm:prSet/>
      <dgm:spPr/>
      <dgm:t>
        <a:bodyPr/>
        <a:lstStyle/>
        <a:p>
          <a:endParaRPr lang="en-US"/>
        </a:p>
      </dgm:t>
    </dgm:pt>
    <dgm:pt modelId="{0FD4D581-77DA-44FD-85CE-D40F8131E4D5}" type="sibTrans" cxnId="{8DD1F142-5BF5-4BD7-A745-892B6759C65A}">
      <dgm:prSet/>
      <dgm:spPr/>
      <dgm:t>
        <a:bodyPr/>
        <a:lstStyle/>
        <a:p>
          <a:endParaRPr lang="en-US"/>
        </a:p>
      </dgm:t>
    </dgm:pt>
    <dgm:pt modelId="{8CB3F4E0-906A-4A52-A899-B78288139308}">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i="0" dirty="0"/>
        </a:p>
      </dgm:t>
    </dgm:pt>
    <dgm:pt modelId="{31C7D0E6-2A73-4AAB-9E31-8781CF00C597}" type="parTrans" cxnId="{3C320AA2-E400-4A7C-B276-604957398056}">
      <dgm:prSet/>
      <dgm:spPr/>
      <dgm:t>
        <a:bodyPr/>
        <a:lstStyle/>
        <a:p>
          <a:endParaRPr lang="en-US"/>
        </a:p>
      </dgm:t>
    </dgm:pt>
    <dgm:pt modelId="{5190FE05-9A17-47E8-93B9-81F4A0DCC4B7}" type="sibTrans" cxnId="{3C320AA2-E400-4A7C-B276-604957398056}">
      <dgm:prSet/>
      <dgm:spPr/>
      <dgm:t>
        <a:bodyPr/>
        <a:lstStyle/>
        <a:p>
          <a:endParaRPr lang="en-US"/>
        </a:p>
      </dgm:t>
    </dgm:pt>
    <dgm:pt modelId="{9599CFB5-A5C7-4368-A186-B4BC8C40C29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CB285C8D-5226-4CC9-9FA1-6E44D4B07055}" type="parTrans" cxnId="{9681F4E3-2870-4590-BE16-5D8DD94A073E}">
      <dgm:prSet/>
      <dgm:spPr/>
      <dgm:t>
        <a:bodyPr/>
        <a:lstStyle/>
        <a:p>
          <a:endParaRPr lang="en-US"/>
        </a:p>
      </dgm:t>
    </dgm:pt>
    <dgm:pt modelId="{F0AB00BC-DDDE-4D20-B695-6D139EDBCB6E}" type="sibTrans" cxnId="{9681F4E3-2870-4590-BE16-5D8DD94A073E}">
      <dgm:prSet/>
      <dgm:spPr/>
      <dgm:t>
        <a:bodyPr/>
        <a:lstStyle/>
        <a:p>
          <a:endParaRPr lang="en-US"/>
        </a:p>
      </dgm:t>
    </dgm:pt>
    <dgm:pt modelId="{ED961C80-085E-4C90-A1B7-834E34B6B38B}" type="pres">
      <dgm:prSet presAssocID="{3EB1903C-75FD-4231-B003-33ACD44E7315}" presName="Name0" presStyleCnt="0">
        <dgm:presLayoutVars>
          <dgm:dir/>
          <dgm:animLvl val="lvl"/>
          <dgm:resizeHandles val="exact"/>
        </dgm:presLayoutVars>
      </dgm:prSet>
      <dgm:spPr/>
    </dgm:pt>
    <dgm:pt modelId="{6F581E82-6131-496D-AE7F-8973FFF8DF50}" type="pres">
      <dgm:prSet presAssocID="{81F06EB0-6EAF-4F3B-AE66-1BC26F58B844}" presName="composite" presStyleCnt="0"/>
      <dgm:spPr/>
    </dgm:pt>
    <dgm:pt modelId="{A9B7F112-54D2-4C69-BB76-CADFE2CB16EA}" type="pres">
      <dgm:prSet presAssocID="{81F06EB0-6EAF-4F3B-AE66-1BC26F58B844}" presName="parTx" presStyleLbl="alignNode1" presStyleIdx="0" presStyleCnt="4">
        <dgm:presLayoutVars>
          <dgm:chMax val="0"/>
          <dgm:chPref val="0"/>
          <dgm:bulletEnabled val="1"/>
        </dgm:presLayoutVars>
      </dgm:prSet>
      <dgm:spPr/>
    </dgm:pt>
    <dgm:pt modelId="{554B3B6C-52F8-4761-8504-A455FFA7B63A}" type="pres">
      <dgm:prSet presAssocID="{81F06EB0-6EAF-4F3B-AE66-1BC26F58B844}" presName="desTx" presStyleLbl="alignAccFollowNode1" presStyleIdx="0" presStyleCnt="4">
        <dgm:presLayoutVars>
          <dgm:bulletEnabled val="1"/>
        </dgm:presLayoutVars>
      </dgm:prSet>
      <dgm:spPr/>
    </dgm:pt>
    <dgm:pt modelId="{BD90440F-D3FA-4BA6-A2C9-68AC390DC373}" type="pres">
      <dgm:prSet presAssocID="{89A04EA5-D10C-40A2-B9BE-2F816418F410}" presName="space" presStyleCnt="0"/>
      <dgm:spPr/>
    </dgm:pt>
    <dgm:pt modelId="{19009472-68CF-40A6-9035-B31A1D436284}" type="pres">
      <dgm:prSet presAssocID="{C9386C5C-2C0E-48EA-A0D1-8A5E098354A6}" presName="composite" presStyleCnt="0"/>
      <dgm:spPr/>
    </dgm:pt>
    <dgm:pt modelId="{2B552E49-B5B9-4198-BA4A-2A985820E6BF}" type="pres">
      <dgm:prSet presAssocID="{C9386C5C-2C0E-48EA-A0D1-8A5E098354A6}" presName="parTx" presStyleLbl="alignNode1" presStyleIdx="1" presStyleCnt="4">
        <dgm:presLayoutVars>
          <dgm:chMax val="0"/>
          <dgm:chPref val="0"/>
          <dgm:bulletEnabled val="1"/>
        </dgm:presLayoutVars>
      </dgm:prSet>
      <dgm:spPr/>
    </dgm:pt>
    <dgm:pt modelId="{60EC8EC9-96DF-4B01-A936-75003890CE91}" type="pres">
      <dgm:prSet presAssocID="{C9386C5C-2C0E-48EA-A0D1-8A5E098354A6}" presName="desTx" presStyleLbl="alignAccFollowNode1" presStyleIdx="1" presStyleCnt="4">
        <dgm:presLayoutVars>
          <dgm:bulletEnabled val="1"/>
        </dgm:presLayoutVars>
      </dgm:prSet>
      <dgm:spPr/>
    </dgm:pt>
    <dgm:pt modelId="{BDABCD02-BF8A-4C6A-9109-E7962C9E35FC}" type="pres">
      <dgm:prSet presAssocID="{8F592507-64D1-437A-8293-6BEA4B0EF2D3}" presName="space" presStyleCnt="0"/>
      <dgm:spPr/>
    </dgm:pt>
    <dgm:pt modelId="{FB6012DA-E8D4-4982-9A26-7B3DC3BFF255}" type="pres">
      <dgm:prSet presAssocID="{84E01BEB-2681-4984-86D7-4A5956858195}" presName="composite" presStyleCnt="0"/>
      <dgm:spPr/>
    </dgm:pt>
    <dgm:pt modelId="{DC123B1C-EB8C-4AA5-BECE-493E47F77537}" type="pres">
      <dgm:prSet presAssocID="{84E01BEB-2681-4984-86D7-4A5956858195}" presName="parTx" presStyleLbl="alignNode1" presStyleIdx="2" presStyleCnt="4">
        <dgm:presLayoutVars>
          <dgm:chMax val="0"/>
          <dgm:chPref val="0"/>
          <dgm:bulletEnabled val="1"/>
        </dgm:presLayoutVars>
      </dgm:prSet>
      <dgm:spPr/>
    </dgm:pt>
    <dgm:pt modelId="{BBB420D4-3887-4409-873F-5DA06A088833}" type="pres">
      <dgm:prSet presAssocID="{84E01BEB-2681-4984-86D7-4A5956858195}" presName="desTx" presStyleLbl="alignAccFollowNode1" presStyleIdx="2" presStyleCnt="4">
        <dgm:presLayoutVars>
          <dgm:bulletEnabled val="1"/>
        </dgm:presLayoutVars>
      </dgm:prSet>
      <dgm:spPr/>
    </dgm:pt>
    <dgm:pt modelId="{84BA76F8-1DAD-4462-BC2D-053402D1ED49}" type="pres">
      <dgm:prSet presAssocID="{69C970DD-5C38-4B9D-930D-DA5D3D0C2978}" presName="space" presStyleCnt="0"/>
      <dgm:spPr/>
    </dgm:pt>
    <dgm:pt modelId="{E4F27EEE-22C6-4875-8457-3B541894E08A}" type="pres">
      <dgm:prSet presAssocID="{3AA532A2-9BEA-4E09-86FD-82E98AFEAF44}" presName="composite" presStyleCnt="0"/>
      <dgm:spPr/>
    </dgm:pt>
    <dgm:pt modelId="{B4A71382-2475-483C-B90B-60E367F320C2}" type="pres">
      <dgm:prSet presAssocID="{3AA532A2-9BEA-4E09-86FD-82E98AFEAF44}" presName="parTx" presStyleLbl="alignNode1" presStyleIdx="3" presStyleCnt="4">
        <dgm:presLayoutVars>
          <dgm:chMax val="0"/>
          <dgm:chPref val="0"/>
          <dgm:bulletEnabled val="1"/>
        </dgm:presLayoutVars>
      </dgm:prSet>
      <dgm:spPr/>
    </dgm:pt>
    <dgm:pt modelId="{E912499E-0EA8-4301-A07B-D5CBC103EAFE}" type="pres">
      <dgm:prSet presAssocID="{3AA532A2-9BEA-4E09-86FD-82E98AFEAF44}" presName="desTx" presStyleLbl="alignAccFollowNode1" presStyleIdx="3" presStyleCnt="4">
        <dgm:presLayoutVars>
          <dgm:bulletEnabled val="1"/>
        </dgm:presLayoutVars>
      </dgm:prSet>
      <dgm:spPr/>
    </dgm:pt>
  </dgm:ptLst>
  <dgm:cxnLst>
    <dgm:cxn modelId="{07CEB20F-3CE3-4687-AE05-FF173B5AC158}" type="presOf" srcId="{5A72C403-B206-4A1B-ADB0-64341A4BA3B9}" destId="{BBB420D4-3887-4409-873F-5DA06A088833}" srcOrd="0" destOrd="2" presId="urn:microsoft.com/office/officeart/2005/8/layout/hList1"/>
    <dgm:cxn modelId="{37464A1D-31D2-4B74-AD00-1BDE97020909}" srcId="{84E01BEB-2681-4984-86D7-4A5956858195}" destId="{5A72C403-B206-4A1B-ADB0-64341A4BA3B9}" srcOrd="2" destOrd="0" parTransId="{76F4B480-7C56-48DA-AB5B-8168B169D912}" sibTransId="{377D7B09-2504-48B4-9E7A-29C5DCE875A4}"/>
    <dgm:cxn modelId="{0381AE21-9F1D-40EE-A996-D60CCE4123A4}" type="presOf" srcId="{3AA532A2-9BEA-4E09-86FD-82E98AFEAF44}" destId="{B4A71382-2475-483C-B90B-60E367F320C2}" srcOrd="0" destOrd="0" presId="urn:microsoft.com/office/officeart/2005/8/layout/hList1"/>
    <dgm:cxn modelId="{2BC18923-2EB8-41C0-82DE-89CD92B319F9}" srcId="{3EB1903C-75FD-4231-B003-33ACD44E7315}" destId="{C9386C5C-2C0E-48EA-A0D1-8A5E098354A6}" srcOrd="1" destOrd="0" parTransId="{549B0EA6-1E9E-4441-9755-339FBD35DEC8}" sibTransId="{8F592507-64D1-437A-8293-6BEA4B0EF2D3}"/>
    <dgm:cxn modelId="{DBA74428-1C06-47D6-A6DA-9B15A606CA09}" srcId="{81F06EB0-6EAF-4F3B-AE66-1BC26F58B844}" destId="{11027371-DAD9-4B3C-99DD-5EDEEBB3BCE7}" srcOrd="4" destOrd="0" parTransId="{11BF591E-4AA6-4034-8FBE-D6B6C4D70C6E}" sibTransId="{0A5D3EC1-BEED-4B57-B0D7-363173219CDC}"/>
    <dgm:cxn modelId="{558B8C30-7DD9-4B79-99FC-9D37A6B758A9}" type="presOf" srcId="{84E01BEB-2681-4984-86D7-4A5956858195}" destId="{DC123B1C-EB8C-4AA5-BECE-493E47F77537}" srcOrd="0" destOrd="0" presId="urn:microsoft.com/office/officeart/2005/8/layout/hList1"/>
    <dgm:cxn modelId="{A831FE39-D266-41D0-A73B-A254D2355E54}" type="presOf" srcId="{9599CFB5-A5C7-4368-A186-B4BC8C40C29E}" destId="{E912499E-0EA8-4301-A07B-D5CBC103EAFE}" srcOrd="0" destOrd="1" presId="urn:microsoft.com/office/officeart/2005/8/layout/hList1"/>
    <dgm:cxn modelId="{5B23703A-B102-46C7-BB5C-8076EFE451D9}" srcId="{3EB1903C-75FD-4231-B003-33ACD44E7315}" destId="{84E01BEB-2681-4984-86D7-4A5956858195}" srcOrd="2" destOrd="0" parTransId="{C0F1E3DB-D712-4736-B1AF-FB3753E08149}" sibTransId="{69C970DD-5C38-4B9D-930D-DA5D3D0C2978}"/>
    <dgm:cxn modelId="{47172842-B8B5-4486-9D40-D4DAD06D350A}" type="presOf" srcId="{02D64AA7-ACDC-42A4-B40D-E6FF50FAF53C}" destId="{554B3B6C-52F8-4761-8504-A455FFA7B63A}" srcOrd="0" destOrd="2" presId="urn:microsoft.com/office/officeart/2005/8/layout/hList1"/>
    <dgm:cxn modelId="{8DD1F142-5BF5-4BD7-A745-892B6759C65A}" srcId="{C9386C5C-2C0E-48EA-A0D1-8A5E098354A6}" destId="{44F12249-58CF-4F47-A4D5-B78E1E7F0AC5}" srcOrd="1" destOrd="0" parTransId="{7998F0A6-6087-4CEE-808B-43A3A2946048}" sibTransId="{0FD4D581-77DA-44FD-85CE-D40F8131E4D5}"/>
    <dgm:cxn modelId="{D28DBF69-7099-4762-9DA2-D156E9EEFB85}" type="presOf" srcId="{7EA8C824-18F1-47C3-8BEA-FA6E26414B6E}" destId="{E912499E-0EA8-4301-A07B-D5CBC103EAFE}" srcOrd="0" destOrd="2" presId="urn:microsoft.com/office/officeart/2005/8/layout/hList1"/>
    <dgm:cxn modelId="{415D706F-7970-44A6-A2B8-A11CF7E614A0}" srcId="{3AA532A2-9BEA-4E09-86FD-82E98AFEAF44}" destId="{7EA8C824-18F1-47C3-8BEA-FA6E26414B6E}" srcOrd="2" destOrd="0" parTransId="{E56CCC7C-4523-421A-863F-55CF8CCE8ACF}" sibTransId="{5A607607-073C-44F9-B9C7-75FB8ECE712D}"/>
    <dgm:cxn modelId="{C786A24F-19C5-4FA5-AC3A-0D0851D6FE3D}" srcId="{81F06EB0-6EAF-4F3B-AE66-1BC26F58B844}" destId="{E8DFBBF1-F1AE-45D6-A9E0-354BF08CFF81}" srcOrd="0" destOrd="0" parTransId="{AE954163-7127-4B98-A5BD-0971287D54E6}" sibTransId="{5B96807F-2ACB-4F9B-AE96-A764AAF1A6F3}"/>
    <dgm:cxn modelId="{50AFC76F-8053-48A4-BC56-389E4866F407}" srcId="{3EB1903C-75FD-4231-B003-33ACD44E7315}" destId="{81F06EB0-6EAF-4F3B-AE66-1BC26F58B844}" srcOrd="0" destOrd="0" parTransId="{012B21C1-CEF5-4F30-8E9B-5FFF7959E7E1}" sibTransId="{89A04EA5-D10C-40A2-B9BE-2F816418F410}"/>
    <dgm:cxn modelId="{D42CAD52-E28E-415B-BA6F-E347FF0DD74E}" srcId="{84E01BEB-2681-4984-86D7-4A5956858195}" destId="{AB25328B-8F84-460B-9112-1151B34F01A3}" srcOrd="0" destOrd="0" parTransId="{C36013A1-0651-4CD6-B223-9864CF0006D0}" sibTransId="{5DFB7771-9597-4BCC-A117-F2BC0D5D5C91}"/>
    <dgm:cxn modelId="{A4CB8155-60A6-4A72-AEA8-C2D1DCE02B19}" srcId="{81F06EB0-6EAF-4F3B-AE66-1BC26F58B844}" destId="{02D64AA7-ACDC-42A4-B40D-E6FF50FAF53C}" srcOrd="2" destOrd="0" parTransId="{542BFF6A-5F22-4006-B166-D76CF6C39AA7}" sibTransId="{8A64C0C5-ADFA-4750-8A66-08EBD6400B71}"/>
    <dgm:cxn modelId="{2175A658-F7EC-4F23-A5CE-0409833CCE36}" type="presOf" srcId="{8CB3F4E0-906A-4A52-A899-B78288139308}" destId="{BBB420D4-3887-4409-873F-5DA06A088833}" srcOrd="0" destOrd="1" presId="urn:microsoft.com/office/officeart/2005/8/layout/hList1"/>
    <dgm:cxn modelId="{CF87E97A-4BD9-42DA-AEF3-497CB1F321BF}" type="presOf" srcId="{26D21917-2F84-46B5-9732-24192F03E826}" destId="{60EC8EC9-96DF-4B01-A936-75003890CE91}" srcOrd="0" destOrd="0" presId="urn:microsoft.com/office/officeart/2005/8/layout/hList1"/>
    <dgm:cxn modelId="{8F018C7D-7428-4CDC-8246-48D3435E07B8}" type="presOf" srcId="{C9386C5C-2C0E-48EA-A0D1-8A5E098354A6}" destId="{2B552E49-B5B9-4198-BA4A-2A985820E6BF}" srcOrd="0" destOrd="0" presId="urn:microsoft.com/office/officeart/2005/8/layout/hList1"/>
    <dgm:cxn modelId="{DE565E8C-1D6B-4F36-BF74-DB0CC559F956}" type="presOf" srcId="{81F06EB0-6EAF-4F3B-AE66-1BC26F58B844}" destId="{A9B7F112-54D2-4C69-BB76-CADFE2CB16EA}" srcOrd="0" destOrd="0" presId="urn:microsoft.com/office/officeart/2005/8/layout/hList1"/>
    <dgm:cxn modelId="{674EDD93-68C3-454D-BDE9-888A1666D0B2}" srcId="{3EB1903C-75FD-4231-B003-33ACD44E7315}" destId="{3AA532A2-9BEA-4E09-86FD-82E98AFEAF44}" srcOrd="3" destOrd="0" parTransId="{E5A7CF5F-4DAC-492A-99C2-506EC0559CF5}" sibTransId="{BCED8313-A6D4-4045-988C-E1A6443D1D67}"/>
    <dgm:cxn modelId="{49F1CB94-B096-4B0E-BE10-F359DADFC39C}" type="presOf" srcId="{E8DFBBF1-F1AE-45D6-A9E0-354BF08CFF81}" destId="{554B3B6C-52F8-4761-8504-A455FFA7B63A}" srcOrd="0" destOrd="0" presId="urn:microsoft.com/office/officeart/2005/8/layout/hList1"/>
    <dgm:cxn modelId="{3C320AA2-E400-4A7C-B276-604957398056}" srcId="{84E01BEB-2681-4984-86D7-4A5956858195}" destId="{8CB3F4E0-906A-4A52-A899-B78288139308}" srcOrd="1" destOrd="0" parTransId="{31C7D0E6-2A73-4AAB-9E31-8781CF00C597}" sibTransId="{5190FE05-9A17-47E8-93B9-81F4A0DCC4B7}"/>
    <dgm:cxn modelId="{3DE84CA5-0FEF-4F1F-98EA-C626479A9CC9}" srcId="{81F06EB0-6EAF-4F3B-AE66-1BC26F58B844}" destId="{E72D83C6-634E-426E-BF08-36F239649C47}" srcOrd="1" destOrd="0" parTransId="{408F67FF-BC7D-4D4E-8544-3DCFFF60D0E6}" sibTransId="{466191A6-C9E6-4E58-BEDD-84B705F27327}"/>
    <dgm:cxn modelId="{0044A0AA-F0B2-4022-B7F7-38E231723804}" type="presOf" srcId="{3FAADCBB-BFEA-4764-8572-C76C0D8663B3}" destId="{E912499E-0EA8-4301-A07B-D5CBC103EAFE}" srcOrd="0" destOrd="0" presId="urn:microsoft.com/office/officeart/2005/8/layout/hList1"/>
    <dgm:cxn modelId="{D3D8FEAE-1E85-4A21-8E74-AB62CF127527}" type="presOf" srcId="{E72D83C6-634E-426E-BF08-36F239649C47}" destId="{554B3B6C-52F8-4761-8504-A455FFA7B63A}" srcOrd="0" destOrd="1" presId="urn:microsoft.com/office/officeart/2005/8/layout/hList1"/>
    <dgm:cxn modelId="{5AD22CCC-A2F2-46CF-8A90-96A3B682E2C3}" type="presOf" srcId="{EAB5946F-4806-45A0-BB02-55752012FE37}" destId="{60EC8EC9-96DF-4B01-A936-75003890CE91}" srcOrd="0" destOrd="2" presId="urn:microsoft.com/office/officeart/2005/8/layout/hList1"/>
    <dgm:cxn modelId="{26C4D9D0-26A6-4E43-993B-07532166EBDE}" type="presOf" srcId="{44F12249-58CF-4F47-A4D5-B78E1E7F0AC5}" destId="{60EC8EC9-96DF-4B01-A936-75003890CE91}" srcOrd="0" destOrd="1" presId="urn:microsoft.com/office/officeart/2005/8/layout/hList1"/>
    <dgm:cxn modelId="{6EADF4DE-499C-4195-85A3-3F5D72EE0C50}" type="presOf" srcId="{AB25328B-8F84-460B-9112-1151B34F01A3}" destId="{BBB420D4-3887-4409-873F-5DA06A088833}" srcOrd="0" destOrd="0" presId="urn:microsoft.com/office/officeart/2005/8/layout/hList1"/>
    <dgm:cxn modelId="{76DC66E0-690A-4004-A8EC-5848AF891528}" srcId="{81F06EB0-6EAF-4F3B-AE66-1BC26F58B844}" destId="{775BD321-F0D2-46F1-976E-A9CA1022C8E5}" srcOrd="3" destOrd="0" parTransId="{4BCBC5B1-3729-4CE9-AD74-A1F76113E3C4}" sibTransId="{779B3E21-4F83-4B34-95DE-B77F7E4EDD9C}"/>
    <dgm:cxn modelId="{152C92E0-AACB-4215-9113-18EC8770E0E4}" srcId="{C9386C5C-2C0E-48EA-A0D1-8A5E098354A6}" destId="{26D21917-2F84-46B5-9732-24192F03E826}" srcOrd="0" destOrd="0" parTransId="{29B48E29-C059-4F1E-A7AB-62325FF84ABD}" sibTransId="{0BBF1F5F-FD2C-40B2-8A17-B3DCD47DEFF6}"/>
    <dgm:cxn modelId="{1DE5AEE1-7DAE-4630-9ED3-E953F3080D75}" type="presOf" srcId="{11027371-DAD9-4B3C-99DD-5EDEEBB3BCE7}" destId="{554B3B6C-52F8-4761-8504-A455FFA7B63A}" srcOrd="0" destOrd="4" presId="urn:microsoft.com/office/officeart/2005/8/layout/hList1"/>
    <dgm:cxn modelId="{40371FE2-0861-4B9D-8370-6AB963052D6B}" srcId="{C9386C5C-2C0E-48EA-A0D1-8A5E098354A6}" destId="{EAB5946F-4806-45A0-BB02-55752012FE37}" srcOrd="2" destOrd="0" parTransId="{CA35AA88-85D3-49F7-B9FF-518A3EFD1513}" sibTransId="{AF029723-20C2-475B-8158-F5EC0994BE3F}"/>
    <dgm:cxn modelId="{9681F4E3-2870-4590-BE16-5D8DD94A073E}" srcId="{3AA532A2-9BEA-4E09-86FD-82E98AFEAF44}" destId="{9599CFB5-A5C7-4368-A186-B4BC8C40C29E}" srcOrd="1" destOrd="0" parTransId="{CB285C8D-5226-4CC9-9FA1-6E44D4B07055}" sibTransId="{F0AB00BC-DDDE-4D20-B695-6D139EDBCB6E}"/>
    <dgm:cxn modelId="{F00EEAE4-0AB4-4A2D-B2F2-E1531471DB54}" srcId="{3AA532A2-9BEA-4E09-86FD-82E98AFEAF44}" destId="{3FAADCBB-BFEA-4764-8572-C76C0D8663B3}" srcOrd="0" destOrd="0" parTransId="{5C3780E0-05AA-4A4D-B705-ECB544173C19}" sibTransId="{5734AA50-5635-4920-89E5-D1E3557731DC}"/>
    <dgm:cxn modelId="{6FD71AEB-9E90-46D9-BFA9-920F59A6E164}" type="presOf" srcId="{3EB1903C-75FD-4231-B003-33ACD44E7315}" destId="{ED961C80-085E-4C90-A1B7-834E34B6B38B}" srcOrd="0" destOrd="0" presId="urn:microsoft.com/office/officeart/2005/8/layout/hList1"/>
    <dgm:cxn modelId="{A941F4EE-2553-4365-80EA-0D1DC22FF36C}" type="presOf" srcId="{775BD321-F0D2-46F1-976E-A9CA1022C8E5}" destId="{554B3B6C-52F8-4761-8504-A455FFA7B63A}" srcOrd="0" destOrd="3" presId="urn:microsoft.com/office/officeart/2005/8/layout/hList1"/>
    <dgm:cxn modelId="{E509ED55-D4DD-4B9A-96F2-E186E61FA258}" type="presParOf" srcId="{ED961C80-085E-4C90-A1B7-834E34B6B38B}" destId="{6F581E82-6131-496D-AE7F-8973FFF8DF50}" srcOrd="0" destOrd="0" presId="urn:microsoft.com/office/officeart/2005/8/layout/hList1"/>
    <dgm:cxn modelId="{EF1FD0E9-8FF3-4DA3-A522-0D941270ABFD}" type="presParOf" srcId="{6F581E82-6131-496D-AE7F-8973FFF8DF50}" destId="{A9B7F112-54D2-4C69-BB76-CADFE2CB16EA}" srcOrd="0" destOrd="0" presId="urn:microsoft.com/office/officeart/2005/8/layout/hList1"/>
    <dgm:cxn modelId="{C034A066-23A9-4BFA-BC2F-F05E403738C5}" type="presParOf" srcId="{6F581E82-6131-496D-AE7F-8973FFF8DF50}" destId="{554B3B6C-52F8-4761-8504-A455FFA7B63A}" srcOrd="1" destOrd="0" presId="urn:microsoft.com/office/officeart/2005/8/layout/hList1"/>
    <dgm:cxn modelId="{61F308B8-FD5B-4E7A-B1B9-B499943A969F}" type="presParOf" srcId="{ED961C80-085E-4C90-A1B7-834E34B6B38B}" destId="{BD90440F-D3FA-4BA6-A2C9-68AC390DC373}" srcOrd="1" destOrd="0" presId="urn:microsoft.com/office/officeart/2005/8/layout/hList1"/>
    <dgm:cxn modelId="{5E14C03F-D75E-449E-AE24-C1288CC64F3D}" type="presParOf" srcId="{ED961C80-085E-4C90-A1B7-834E34B6B38B}" destId="{19009472-68CF-40A6-9035-B31A1D436284}" srcOrd="2" destOrd="0" presId="urn:microsoft.com/office/officeart/2005/8/layout/hList1"/>
    <dgm:cxn modelId="{55B63C71-BFA1-4A79-985D-CBF16D86D9D8}" type="presParOf" srcId="{19009472-68CF-40A6-9035-B31A1D436284}" destId="{2B552E49-B5B9-4198-BA4A-2A985820E6BF}" srcOrd="0" destOrd="0" presId="urn:microsoft.com/office/officeart/2005/8/layout/hList1"/>
    <dgm:cxn modelId="{EC78D6D1-48F8-4E06-B8FD-6132ACF59E7C}" type="presParOf" srcId="{19009472-68CF-40A6-9035-B31A1D436284}" destId="{60EC8EC9-96DF-4B01-A936-75003890CE91}" srcOrd="1" destOrd="0" presId="urn:microsoft.com/office/officeart/2005/8/layout/hList1"/>
    <dgm:cxn modelId="{8E484BD4-0D8F-4634-9FF2-74F793454C2F}" type="presParOf" srcId="{ED961C80-085E-4C90-A1B7-834E34B6B38B}" destId="{BDABCD02-BF8A-4C6A-9109-E7962C9E35FC}" srcOrd="3" destOrd="0" presId="urn:microsoft.com/office/officeart/2005/8/layout/hList1"/>
    <dgm:cxn modelId="{7BF322D8-9B1A-4D4B-B615-256CE1828028}" type="presParOf" srcId="{ED961C80-085E-4C90-A1B7-834E34B6B38B}" destId="{FB6012DA-E8D4-4982-9A26-7B3DC3BFF255}" srcOrd="4" destOrd="0" presId="urn:microsoft.com/office/officeart/2005/8/layout/hList1"/>
    <dgm:cxn modelId="{0D502BA7-88B2-4A28-8696-8013CFE91D2A}" type="presParOf" srcId="{FB6012DA-E8D4-4982-9A26-7B3DC3BFF255}" destId="{DC123B1C-EB8C-4AA5-BECE-493E47F77537}" srcOrd="0" destOrd="0" presId="urn:microsoft.com/office/officeart/2005/8/layout/hList1"/>
    <dgm:cxn modelId="{F773B188-E297-4940-B819-FB1EBFD8EA9E}" type="presParOf" srcId="{FB6012DA-E8D4-4982-9A26-7B3DC3BFF255}" destId="{BBB420D4-3887-4409-873F-5DA06A088833}" srcOrd="1" destOrd="0" presId="urn:microsoft.com/office/officeart/2005/8/layout/hList1"/>
    <dgm:cxn modelId="{1E43313B-238E-4559-A066-3E493C795D9C}" type="presParOf" srcId="{ED961C80-085E-4C90-A1B7-834E34B6B38B}" destId="{84BA76F8-1DAD-4462-BC2D-053402D1ED49}" srcOrd="5" destOrd="0" presId="urn:microsoft.com/office/officeart/2005/8/layout/hList1"/>
    <dgm:cxn modelId="{28588148-B4EA-4EFB-88FA-219932600581}" type="presParOf" srcId="{ED961C80-085E-4C90-A1B7-834E34B6B38B}" destId="{E4F27EEE-22C6-4875-8457-3B541894E08A}" srcOrd="6" destOrd="0" presId="urn:microsoft.com/office/officeart/2005/8/layout/hList1"/>
    <dgm:cxn modelId="{61F75501-3003-43F5-87A1-6AB5930BE762}" type="presParOf" srcId="{E4F27EEE-22C6-4875-8457-3B541894E08A}" destId="{B4A71382-2475-483C-B90B-60E367F320C2}" srcOrd="0" destOrd="0" presId="urn:microsoft.com/office/officeart/2005/8/layout/hList1"/>
    <dgm:cxn modelId="{3D6EA9F1-4B9C-4E29-BBDB-F433CEBF9D99}" type="presParOf" srcId="{E4F27EEE-22C6-4875-8457-3B541894E08A}" destId="{E912499E-0EA8-4301-A07B-D5CBC103EAFE}" srcOrd="1" destOrd="0" presId="urn:microsoft.com/office/officeart/2005/8/layout/hList1"/>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7F112-54D2-4C69-BB76-CADFE2CB16EA}">
      <dsp:nvSpPr>
        <dsp:cNvPr id="0" name=""/>
        <dsp:cNvSpPr/>
      </dsp:nvSpPr>
      <dsp:spPr>
        <a:xfrm>
          <a:off x="4452" y="1347319"/>
          <a:ext cx="2677126" cy="765004"/>
        </a:xfrm>
        <a:prstGeom prst="rect">
          <a:avLst/>
        </a:prstGeom>
        <a:solidFill>
          <a:schemeClr val="accent1">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Data Input</a:t>
          </a:r>
        </a:p>
      </dsp:txBody>
      <dsp:txXfrm>
        <a:off x="4452" y="1347319"/>
        <a:ext cx="2677126" cy="765004"/>
      </dsp:txXfrm>
    </dsp:sp>
    <dsp:sp modelId="{554B3B6C-52F8-4761-8504-A455FFA7B63A}">
      <dsp:nvSpPr>
        <dsp:cNvPr id="0" name=""/>
        <dsp:cNvSpPr/>
      </dsp:nvSpPr>
      <dsp:spPr>
        <a:xfrm>
          <a:off x="4452" y="2112324"/>
          <a:ext cx="2677126" cy="2824605"/>
        </a:xfrm>
        <a:prstGeom prst="rect">
          <a:avLst/>
        </a:prstGeom>
        <a:solidFill>
          <a:schemeClr val="accent1">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Diverse Language Support</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Rich Metadata Integration</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Balanced Dataset Composition</a:t>
          </a:r>
        </a:p>
      </dsp:txBody>
      <dsp:txXfrm>
        <a:off x="4452" y="2112324"/>
        <a:ext cx="2677126" cy="2824605"/>
      </dsp:txXfrm>
    </dsp:sp>
    <dsp:sp modelId="{2B552E49-B5B9-4198-BA4A-2A985820E6BF}">
      <dsp:nvSpPr>
        <dsp:cNvPr id="0" name=""/>
        <dsp:cNvSpPr/>
      </dsp:nvSpPr>
      <dsp:spPr>
        <a:xfrm>
          <a:off x="3056376" y="1347319"/>
          <a:ext cx="2677126" cy="765004"/>
        </a:xfrm>
        <a:prstGeom prst="rect">
          <a:avLst/>
        </a:prstGeom>
        <a:solidFill>
          <a:schemeClr val="accent3">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Pre-processing &amp; Feature Engineering</a:t>
          </a:r>
        </a:p>
      </dsp:txBody>
      <dsp:txXfrm>
        <a:off x="3056376" y="1347319"/>
        <a:ext cx="2677126" cy="765004"/>
      </dsp:txXfrm>
    </dsp:sp>
    <dsp:sp modelId="{60EC8EC9-96DF-4B01-A936-75003890CE91}">
      <dsp:nvSpPr>
        <dsp:cNvPr id="0" name=""/>
        <dsp:cNvSpPr/>
      </dsp:nvSpPr>
      <dsp:spPr>
        <a:xfrm>
          <a:off x="3056376" y="2112324"/>
          <a:ext cx="2677126" cy="2824605"/>
        </a:xfrm>
        <a:prstGeom prst="rect">
          <a:avLst/>
        </a:prstGeom>
        <a:solidFill>
          <a:schemeClr val="accent6">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Punctuation &amp; Grammar Analysis</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Semantic &amp; </a:t>
          </a:r>
          <a:r>
            <a:rPr lang="en-US" sz="2100" kern="1200" dirty="0" err="1"/>
            <a:t>Stopword</a:t>
          </a:r>
          <a:r>
            <a:rPr lang="en-US" sz="2100" kern="1200" dirty="0"/>
            <a:t> Features</a:t>
          </a:r>
        </a:p>
      </dsp:txBody>
      <dsp:txXfrm>
        <a:off x="3056376" y="2112324"/>
        <a:ext cx="2677126" cy="2824605"/>
      </dsp:txXfrm>
    </dsp:sp>
    <dsp:sp modelId="{DC123B1C-EB8C-4AA5-BECE-493E47F77537}">
      <dsp:nvSpPr>
        <dsp:cNvPr id="0" name=""/>
        <dsp:cNvSpPr/>
      </dsp:nvSpPr>
      <dsp:spPr>
        <a:xfrm>
          <a:off x="6108300" y="1347319"/>
          <a:ext cx="2677126" cy="765004"/>
        </a:xfrm>
        <a:prstGeom prst="rect">
          <a:avLst/>
        </a:prstGeom>
        <a:solidFill>
          <a:schemeClr val="accent5">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Model Enhancements</a:t>
          </a:r>
        </a:p>
      </dsp:txBody>
      <dsp:txXfrm>
        <a:off x="6108300" y="1347319"/>
        <a:ext cx="2677126" cy="765004"/>
      </dsp:txXfrm>
    </dsp:sp>
    <dsp:sp modelId="{BBB420D4-3887-4409-873F-5DA06A088833}">
      <dsp:nvSpPr>
        <dsp:cNvPr id="0" name=""/>
        <dsp:cNvSpPr/>
      </dsp:nvSpPr>
      <dsp:spPr>
        <a:xfrm>
          <a:off x="6108300" y="2112324"/>
          <a:ext cx="2677126" cy="2824605"/>
        </a:xfrm>
        <a:prstGeom prst="rect">
          <a:avLst/>
        </a:prstGeom>
        <a:solidFill>
          <a:schemeClr val="accent5">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i="0" kern="1200" dirty="0"/>
            <a:t>Context-aware Models</a:t>
          </a:r>
        </a:p>
        <a:p>
          <a:pPr marL="228600" lvl="1" indent="-228600" algn="l" defTabSz="933450">
            <a:lnSpc>
              <a:spcPct val="90000"/>
            </a:lnSpc>
            <a:spcBef>
              <a:spcPct val="0"/>
            </a:spcBef>
            <a:spcAft>
              <a:spcPct val="15000"/>
            </a:spcAft>
            <a:buChar char="•"/>
          </a:pPr>
          <a:endParaRPr lang="en-US" sz="2100" i="0" kern="1200" dirty="0"/>
        </a:p>
        <a:p>
          <a:pPr marL="228600" lvl="1" indent="-228600" algn="l" defTabSz="933450">
            <a:lnSpc>
              <a:spcPct val="90000"/>
            </a:lnSpc>
            <a:spcBef>
              <a:spcPct val="0"/>
            </a:spcBef>
            <a:spcAft>
              <a:spcPct val="15000"/>
            </a:spcAft>
            <a:buChar char="•"/>
          </a:pPr>
          <a:r>
            <a:rPr lang="en-US" sz="2100" i="0" kern="1200" dirty="0" err="1"/>
            <a:t>Scaleability</a:t>
          </a:r>
          <a:r>
            <a:rPr lang="en-US" sz="2100" i="0" kern="1200" dirty="0"/>
            <a:t> &amp; Deployment</a:t>
          </a:r>
        </a:p>
      </dsp:txBody>
      <dsp:txXfrm>
        <a:off x="6108300" y="2112324"/>
        <a:ext cx="2677126" cy="2824605"/>
      </dsp:txXfrm>
    </dsp:sp>
    <dsp:sp modelId="{B4A71382-2475-483C-B90B-60E367F320C2}">
      <dsp:nvSpPr>
        <dsp:cNvPr id="0" name=""/>
        <dsp:cNvSpPr/>
      </dsp:nvSpPr>
      <dsp:spPr>
        <a:xfrm>
          <a:off x="9160224" y="1347319"/>
          <a:ext cx="2677126" cy="765004"/>
        </a:xfrm>
        <a:prstGeom prst="rect">
          <a:avLst/>
        </a:prstGeom>
        <a:solidFill>
          <a:schemeClr val="accent2">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Continuous Learning</a:t>
          </a:r>
        </a:p>
      </dsp:txBody>
      <dsp:txXfrm>
        <a:off x="9160224" y="1347319"/>
        <a:ext cx="2677126" cy="765004"/>
      </dsp:txXfrm>
    </dsp:sp>
    <dsp:sp modelId="{E912499E-0EA8-4301-A07B-D5CBC103EAFE}">
      <dsp:nvSpPr>
        <dsp:cNvPr id="0" name=""/>
        <dsp:cNvSpPr/>
      </dsp:nvSpPr>
      <dsp:spPr>
        <a:xfrm>
          <a:off x="9160224" y="2112324"/>
          <a:ext cx="2677126" cy="2824605"/>
        </a:xfrm>
        <a:prstGeom prst="rect">
          <a:avLst/>
        </a:prstGeom>
        <a:solidFill>
          <a:schemeClr val="accent2">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Real-Time Feedback Loop</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Ethical Audits &amp; Transparency</a:t>
          </a:r>
        </a:p>
      </dsp:txBody>
      <dsp:txXfrm>
        <a:off x="9160224" y="2112324"/>
        <a:ext cx="2677126" cy="28246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EF9983-7B16-4912-A75D-E8D611801927}" type="datetimeFigureOut">
              <a:rPr lang="en-US" smtClean="0"/>
              <a:t>8/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266E1-CF86-4AAB-956B-04E1E502B720}" type="slidenum">
              <a:rPr lang="en-US" smtClean="0"/>
              <a:t>‹#›</a:t>
            </a:fld>
            <a:endParaRPr lang="en-US"/>
          </a:p>
        </p:txBody>
      </p:sp>
    </p:spTree>
    <p:extLst>
      <p:ext uri="{BB962C8B-B14F-4D97-AF65-F5344CB8AC3E}">
        <p14:creationId xmlns:p14="http://schemas.microsoft.com/office/powerpoint/2010/main" val="1944168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a:t>
            </a:fld>
            <a:endParaRPr lang="en-US"/>
          </a:p>
        </p:txBody>
      </p:sp>
    </p:spTree>
    <p:extLst>
      <p:ext uri="{BB962C8B-B14F-4D97-AF65-F5344CB8AC3E}">
        <p14:creationId xmlns:p14="http://schemas.microsoft.com/office/powerpoint/2010/main" val="3563055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dirty="0"/>
              <a:t>Looking ahead, our enhancements focus on four key areas. First, we’ll improve </a:t>
            </a:r>
            <a:r>
              <a:rPr lang="en-US" b="1" dirty="0"/>
              <a:t>Data Input</a:t>
            </a:r>
            <a:r>
              <a:rPr lang="en-US" dirty="0"/>
              <a:t> by supporting diverse languages, integrating rich metadata, and balancing our dataset. Next, in </a:t>
            </a:r>
            <a:r>
              <a:rPr lang="en-US" b="1" dirty="0"/>
              <a:t>Pre-Processing</a:t>
            </a:r>
            <a:r>
              <a:rPr lang="en-US" dirty="0"/>
              <a:t>, we’ll refine feature engineering by incorporating punctuation and grammar analysis, and leveraging semantic and stop words features. For </a:t>
            </a:r>
            <a:r>
              <a:rPr lang="en-US" b="1" dirty="0"/>
              <a:t>Model Enhancements</a:t>
            </a:r>
            <a:r>
              <a:rPr lang="en-US" dirty="0"/>
              <a:t>, we aim to develop context-aware models that can scale effectively. Finally, we’ll establish a </a:t>
            </a:r>
            <a:r>
              <a:rPr lang="en-US" b="1" dirty="0"/>
              <a:t>Continuous Learning</a:t>
            </a:r>
            <a:r>
              <a:rPr lang="en-US" dirty="0"/>
              <a:t> loop with real-time feedback and maintain ethical transparency throughout. These steps will drive our model toward more sophisticated, common-sense decision-making.</a:t>
            </a:r>
            <a:r>
              <a:rPr lang="en-US" dirty="0">
                <a:sym typeface="Wingdings" panose="05000000000000000000" pitchFamily="2" charset="2"/>
              </a:rPr>
              <a:t> </a:t>
            </a:r>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0</a:t>
            </a:fld>
            <a:endParaRPr lang="en-US"/>
          </a:p>
        </p:txBody>
      </p:sp>
    </p:spTree>
    <p:extLst>
      <p:ext uri="{BB962C8B-B14F-4D97-AF65-F5344CB8AC3E}">
        <p14:creationId xmlns:p14="http://schemas.microsoft.com/office/powerpoint/2010/main" val="2238294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2</a:t>
            </a:fld>
            <a:endParaRPr lang="en-US"/>
          </a:p>
        </p:txBody>
      </p:sp>
    </p:spTree>
    <p:extLst>
      <p:ext uri="{BB962C8B-B14F-4D97-AF65-F5344CB8AC3E}">
        <p14:creationId xmlns:p14="http://schemas.microsoft.com/office/powerpoint/2010/main" val="70151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3</a:t>
            </a:fld>
            <a:endParaRPr lang="en-US"/>
          </a:p>
        </p:txBody>
      </p:sp>
    </p:spTree>
    <p:extLst>
      <p:ext uri="{BB962C8B-B14F-4D97-AF65-F5344CB8AC3E}">
        <p14:creationId xmlns:p14="http://schemas.microsoft.com/office/powerpoint/2010/main" val="3398890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4</a:t>
            </a:fld>
            <a:endParaRPr lang="en-US"/>
          </a:p>
        </p:txBody>
      </p:sp>
    </p:spTree>
    <p:extLst>
      <p:ext uri="{BB962C8B-B14F-4D97-AF65-F5344CB8AC3E}">
        <p14:creationId xmlns:p14="http://schemas.microsoft.com/office/powerpoint/2010/main" val="917270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5</a:t>
            </a:fld>
            <a:endParaRPr lang="en-US"/>
          </a:p>
        </p:txBody>
      </p:sp>
    </p:spTree>
    <p:extLst>
      <p:ext uri="{BB962C8B-B14F-4D97-AF65-F5344CB8AC3E}">
        <p14:creationId xmlns:p14="http://schemas.microsoft.com/office/powerpoint/2010/main" val="1219913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6</a:t>
            </a:fld>
            <a:endParaRPr lang="en-US"/>
          </a:p>
        </p:txBody>
      </p:sp>
    </p:spTree>
    <p:extLst>
      <p:ext uri="{BB962C8B-B14F-4D97-AF65-F5344CB8AC3E}">
        <p14:creationId xmlns:p14="http://schemas.microsoft.com/office/powerpoint/2010/main" val="324516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b="1" dirty="0"/>
          </a:p>
          <a:p>
            <a:endParaRPr lang="en-US" b="1" dirty="0"/>
          </a:p>
          <a:p>
            <a:r>
              <a:rPr lang="en-US" b="1" dirty="0"/>
              <a:t>Machine Learning Models Overview</a:t>
            </a:r>
          </a:p>
          <a:p>
            <a:endParaRPr lang="en-US" b="1" dirty="0"/>
          </a:p>
          <a:p>
            <a:r>
              <a:rPr lang="en-US" b="1" dirty="0"/>
              <a:t>Traditional Machine Learning Models</a:t>
            </a:r>
          </a:p>
          <a:p>
            <a:pPr>
              <a:buFont typeface="Arial" panose="020B0604020202020204" pitchFamily="34" charset="0"/>
              <a:buChar char="•"/>
            </a:pPr>
            <a:r>
              <a:rPr lang="en-US" b="1" dirty="0"/>
              <a:t> Logistic Regression</a:t>
            </a:r>
            <a:r>
              <a:rPr lang="en-US" dirty="0"/>
              <a:t>: Best for binary classification, interpretable, fast, assumes linearity between features and output.</a:t>
            </a:r>
          </a:p>
          <a:p>
            <a:pPr>
              <a:buFont typeface="Arial" panose="020B0604020202020204" pitchFamily="34" charset="0"/>
              <a:buChar char="•"/>
            </a:pPr>
            <a:r>
              <a:rPr lang="en-US" b="1" dirty="0"/>
              <a:t> K-Nearest Neighbors (KNN)</a:t>
            </a:r>
            <a:r>
              <a:rPr lang="en-US" dirty="0"/>
              <a:t>: Non-parametric, simple, depends on distance metric, sensitive to the choice of K.</a:t>
            </a:r>
          </a:p>
          <a:p>
            <a:pPr>
              <a:buFont typeface="Arial" panose="020B0604020202020204" pitchFamily="34" charset="0"/>
              <a:buChar char="•"/>
            </a:pPr>
            <a:r>
              <a:rPr lang="en-US" b="1" dirty="0"/>
              <a:t> Support Vector Machine (SVM)</a:t>
            </a:r>
            <a:r>
              <a:rPr lang="en-US" dirty="0"/>
              <a:t>: Effective in high-dimensional spaces, robust to outliers, requires careful tuning of parameters.</a:t>
            </a:r>
          </a:p>
          <a:p>
            <a:pPr>
              <a:buFont typeface="Arial" panose="020B0604020202020204" pitchFamily="34" charset="0"/>
              <a:buChar char="•"/>
            </a:pPr>
            <a:r>
              <a:rPr lang="en-US" b="1" dirty="0"/>
              <a:t> Decision Tree</a:t>
            </a:r>
            <a:r>
              <a:rPr lang="en-US" dirty="0"/>
              <a:t>: Easy to visualize and interpret, prone to overfitting, works well with categorical and continuous data.</a:t>
            </a:r>
          </a:p>
          <a:p>
            <a:pPr>
              <a:buFont typeface="Arial" panose="020B0604020202020204" pitchFamily="34" charset="0"/>
              <a:buChar char="•"/>
            </a:pPr>
            <a:r>
              <a:rPr lang="en-US" b="1" dirty="0"/>
              <a:t> Random Forest</a:t>
            </a:r>
            <a:r>
              <a:rPr lang="en-US" dirty="0"/>
              <a:t>: Ensemble method of decision trees, reduces overfitting, handles large datasets well, less interpretable.</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7</a:t>
            </a:fld>
            <a:endParaRPr lang="en-US"/>
          </a:p>
        </p:txBody>
      </p:sp>
    </p:spTree>
    <p:extLst>
      <p:ext uri="{BB962C8B-B14F-4D97-AF65-F5344CB8AC3E}">
        <p14:creationId xmlns:p14="http://schemas.microsoft.com/office/powerpoint/2010/main" val="4266088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now going to showcase a false positive (type 1 error) example.</a:t>
            </a:r>
          </a:p>
          <a:p>
            <a:endParaRPr lang="en-US" dirty="0"/>
          </a:p>
          <a:p>
            <a:r>
              <a:rPr lang="en-US" dirty="0"/>
              <a:t>Here I have some ‘realistic’ content generated in ChatGPT, which I am going to plug into the model. Before we go to </a:t>
            </a:r>
            <a:r>
              <a:rPr lang="en-US" dirty="0" err="1"/>
              <a:t>Streamlit</a:t>
            </a:r>
            <a:r>
              <a:rPr lang="en-US" dirty="0"/>
              <a:t>, what do you think makes this a blatantly false article?</a:t>
            </a:r>
            <a:br>
              <a:rPr lang="en-US" dirty="0"/>
            </a:br>
            <a:endParaRPr lang="en-US" dirty="0"/>
          </a:p>
          <a:p>
            <a:r>
              <a:rPr lang="en-US" b="1" dirty="0"/>
              <a:t>Some examples:</a:t>
            </a:r>
            <a:br>
              <a:rPr lang="en-US" dirty="0"/>
            </a:br>
            <a:r>
              <a:rPr lang="en-US" b="1" dirty="0"/>
              <a:t>Unusual Location for a Major Conservation Effort</a:t>
            </a:r>
            <a:endParaRPr lang="en-US" dirty="0"/>
          </a:p>
          <a:p>
            <a:r>
              <a:rPr lang="en-US" b="1" dirty="0"/>
              <a:t>1. Inconsistent Timing:</a:t>
            </a:r>
            <a:endParaRPr lang="en-US" dirty="0"/>
          </a:p>
          <a:p>
            <a:pPr>
              <a:buFont typeface="Arial" panose="020B0604020202020204" pitchFamily="34" charset="0"/>
              <a:buNone/>
            </a:pPr>
            <a:r>
              <a:rPr lang="en-US" dirty="0"/>
              <a:t>Breeding animals in captivity, including rabbits, has been common practice for decades. The claim of this being the first rabbit born in captivity in over a century is highly improbable.</a:t>
            </a:r>
          </a:p>
          <a:p>
            <a:r>
              <a:rPr lang="en-US" b="1" dirty="0"/>
              <a:t>2. Overly Dramatic Language</a:t>
            </a:r>
          </a:p>
          <a:p>
            <a:r>
              <a:rPr lang="en-US" b="1" dirty="0"/>
              <a:t>3. Lack of Specific Details About the Species</a:t>
            </a:r>
          </a:p>
          <a:p>
            <a:r>
              <a:rPr lang="en-US" b="1" dirty="0"/>
              <a:t>4. Absence of Credible Sources or References</a:t>
            </a:r>
          </a:p>
          <a:p>
            <a:r>
              <a:rPr lang="en-US" b="1" dirty="0"/>
              <a:t>5. Exaggerated Timeline and Effort</a:t>
            </a:r>
            <a:endParaRPr lang="en-US" dirty="0"/>
          </a:p>
          <a:p>
            <a:pPr>
              <a:buFont typeface="Arial" panose="020B0604020202020204" pitchFamily="34" charset="0"/>
              <a:buNone/>
            </a:pPr>
            <a:r>
              <a:rPr lang="en-US" dirty="0"/>
              <a:t>Rabbits are not typically challenging to breed, so a decade of effort seems exaggerated and unrealistic.</a:t>
            </a:r>
          </a:p>
          <a:p>
            <a:r>
              <a:rPr lang="en-US" b="1" dirty="0"/>
              <a:t>6. Suspicious Details About the Zoo, Personnel and Innovative Techniques</a:t>
            </a:r>
            <a:endParaRPr lang="en-US" dirty="0"/>
          </a:p>
          <a:p>
            <a:pPr>
              <a:buFont typeface="Arial" panose="020B0604020202020204" pitchFamily="34" charset="0"/>
              <a:buNone/>
            </a:pPr>
            <a:r>
              <a:rPr lang="en-US" dirty="0"/>
              <a:t>In genuine news stories, significant figures like a Chief Zookeeper involved in a major breakthrough would usually have some background details or credentials provided.</a:t>
            </a:r>
          </a:p>
          <a:p>
            <a:endParaRPr lang="en-US" dirty="0"/>
          </a:p>
          <a:p>
            <a:r>
              <a:rPr lang="en-US" dirty="0"/>
              <a:t>[Go to </a:t>
            </a:r>
            <a:r>
              <a:rPr lang="en-US" dirty="0" err="1"/>
              <a:t>Streamlit</a:t>
            </a:r>
            <a:r>
              <a:rPr lang="en-US" dirty="0"/>
              <a:t>]</a:t>
            </a:r>
          </a:p>
        </p:txBody>
      </p:sp>
      <p:sp>
        <p:nvSpPr>
          <p:cNvPr id="4" name="Slide Number Placeholder 3"/>
          <p:cNvSpPr>
            <a:spLocks noGrp="1"/>
          </p:cNvSpPr>
          <p:nvPr>
            <p:ph type="sldNum" sz="quarter" idx="5"/>
          </p:nvPr>
        </p:nvSpPr>
        <p:spPr/>
        <p:txBody>
          <a:bodyPr/>
          <a:lstStyle/>
          <a:p>
            <a:fld id="{C7B266E1-CF86-4AAB-956B-04E1E502B720}" type="slidenum">
              <a:rPr lang="en-US" smtClean="0"/>
              <a:t>8</a:t>
            </a:fld>
            <a:endParaRPr lang="en-US"/>
          </a:p>
        </p:txBody>
      </p:sp>
    </p:spTree>
    <p:extLst>
      <p:ext uri="{BB962C8B-B14F-4D97-AF65-F5344CB8AC3E}">
        <p14:creationId xmlns:p14="http://schemas.microsoft.com/office/powerpoint/2010/main" val="3303561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b="1" dirty="0"/>
              <a:t>Introduction:</a:t>
            </a:r>
            <a:r>
              <a:rPr lang="en-US" dirty="0"/>
              <a:t> "Now that we've explored an example of a false positive, let's dive into some detective work. Can you tell me why our fake news predictor might have misclassified this article.“</a:t>
            </a:r>
          </a:p>
          <a:p>
            <a:endParaRPr lang="en-US" dirty="0"/>
          </a:p>
          <a:p>
            <a:r>
              <a:rPr lang="en-US" b="1" dirty="0"/>
              <a:t>Language Considerations:</a:t>
            </a:r>
            <a:endParaRPr lang="en-US" dirty="0"/>
          </a:p>
          <a:p>
            <a:pPr>
              <a:buFont typeface="Arial" panose="020B0604020202020204" pitchFamily="34" charset="0"/>
              <a:buChar char="•"/>
            </a:pPr>
            <a:r>
              <a:rPr lang="en-US" b="1" dirty="0"/>
              <a:t> "Language:</a:t>
            </a:r>
            <a:r>
              <a:rPr lang="en-US" dirty="0"/>
              <a:t> Our model is trained exclusively on English text, which means nuances in other languages aren't accounted for. This can limit the model's ability to generalize across different linguistic contexts."</a:t>
            </a:r>
          </a:p>
          <a:p>
            <a:r>
              <a:rPr lang="en-US" b="1" dirty="0"/>
              <a:t>Punctuation Removal:</a:t>
            </a:r>
            <a:endParaRPr lang="en-US" dirty="0"/>
          </a:p>
          <a:p>
            <a:pPr>
              <a:buFont typeface="Arial" panose="020B0604020202020204" pitchFamily="34" charset="0"/>
              <a:buChar char="•"/>
            </a:pPr>
            <a:r>
              <a:rPr lang="en-US" b="1" dirty="0"/>
              <a:t>"Punctuation:</a:t>
            </a:r>
            <a:r>
              <a:rPr lang="en-US" dirty="0"/>
              <a:t> In our preprocessing, we removed punctuation. However, this might remove important cues. Perhaps punctuation, especially in specific contexts, could serve as an indicator of authenticity or fabrication. Incorporating punctuation as a feature could be worth exploring."</a:t>
            </a:r>
          </a:p>
          <a:p>
            <a:r>
              <a:rPr lang="en-US" b="1" dirty="0"/>
              <a:t>Stop Words:</a:t>
            </a:r>
            <a:endParaRPr lang="en-US" dirty="0"/>
          </a:p>
          <a:p>
            <a:pPr>
              <a:buFont typeface="Arial" panose="020B0604020202020204" pitchFamily="34" charset="0"/>
              <a:buChar char="•"/>
            </a:pPr>
            <a:r>
              <a:rPr lang="en-US" b="1" dirty="0"/>
              <a:t>"Stop Words:</a:t>
            </a:r>
            <a:r>
              <a:rPr lang="en-US" dirty="0"/>
              <a:t> We also removed common words, or stop words, during preprocessing. But what if the number of stop words or their specific usage patterns actually contribute to identifying fake news? These patterns could be used as additional features in the model."</a:t>
            </a:r>
          </a:p>
          <a:p>
            <a:r>
              <a:rPr lang="en-US" b="1" dirty="0"/>
              <a:t>Dataset Simplicity:</a:t>
            </a:r>
            <a:endParaRPr lang="en-US" dirty="0"/>
          </a:p>
          <a:p>
            <a:pPr>
              <a:buFont typeface="Arial" panose="020B0604020202020204" pitchFamily="34" charset="0"/>
              <a:buChar char="•"/>
            </a:pPr>
            <a:r>
              <a:rPr lang="en-US" b="1" dirty="0"/>
              <a:t>"Dataset Simplicity:</a:t>
            </a:r>
            <a:r>
              <a:rPr lang="en-US" dirty="0"/>
              <a:t> Our dataset is quite simple, with just four columns, two of which we used. However, real-world news articles have other potentially valuable metadata like the news source, date, and author. These additional variables might provide richer context and help improve the model's accuracy."</a:t>
            </a:r>
          </a:p>
          <a:p>
            <a:r>
              <a:rPr lang="en-US" b="1" dirty="0"/>
              <a:t>Oversampling of US Data:</a:t>
            </a:r>
            <a:endParaRPr lang="en-US" dirty="0"/>
          </a:p>
          <a:p>
            <a:pPr>
              <a:buFont typeface="Arial" panose="020B0604020202020204" pitchFamily="34" charset="0"/>
              <a:buChar char="•"/>
            </a:pPr>
            <a:r>
              <a:rPr lang="en-US" b="1" dirty="0"/>
              <a:t>"Oversampling of US Data:</a:t>
            </a:r>
            <a:r>
              <a:rPr lang="en-US" dirty="0"/>
              <a:t> Lastly, our dataset is heavily skewed towards US-based news. This bias could influence the model's performance on non-US news, potentially leading to misclassification."</a:t>
            </a:r>
          </a:p>
        </p:txBody>
      </p:sp>
      <p:sp>
        <p:nvSpPr>
          <p:cNvPr id="4" name="Slide Number Placeholder 3"/>
          <p:cNvSpPr>
            <a:spLocks noGrp="1"/>
          </p:cNvSpPr>
          <p:nvPr>
            <p:ph type="sldNum" sz="quarter" idx="5"/>
          </p:nvPr>
        </p:nvSpPr>
        <p:spPr/>
        <p:txBody>
          <a:bodyPr/>
          <a:lstStyle/>
          <a:p>
            <a:fld id="{C7B266E1-CF86-4AAB-956B-04E1E502B720}" type="slidenum">
              <a:rPr lang="en-US" smtClean="0"/>
              <a:t>9</a:t>
            </a:fld>
            <a:endParaRPr lang="en-US"/>
          </a:p>
        </p:txBody>
      </p:sp>
    </p:spTree>
    <p:extLst>
      <p:ext uri="{BB962C8B-B14F-4D97-AF65-F5344CB8AC3E}">
        <p14:creationId xmlns:p14="http://schemas.microsoft.com/office/powerpoint/2010/main" val="3880516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7ECA4-8303-F679-7710-E52A99F2D4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75A90B2-6E78-9903-E28E-837DB2AAD2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88D514B9-3738-1E8C-7FE9-7CCA7A547707}"/>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DD4CCA30-0C69-1CB2-372F-9F9672DED7A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978B53E-3A4F-8A05-17C0-D7CB81D9B55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348940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E0515-E29A-D6E9-1660-C87541611356}"/>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AEC3C77C-0BD4-7F1B-460C-6BF0FFE876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629DE17-89D9-6A26-06FA-D2DC1B7D1312}"/>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EF1F84F9-70D8-5A62-E33F-C4551BE8B2A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DC5291C-55CC-9E32-12D2-8CEB0138370C}"/>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39154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4676E7-A85D-3492-8716-7B83FEFDBE5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6B8CA26-C724-813D-BDD7-88F06F502A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C81DC60-F954-EA13-F6ED-B68BCC8DE1DE}"/>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DAF35FB4-98AB-829D-FE02-CF57C4AB88E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3864B75-5B3E-FC41-35EE-C76169333571}"/>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596479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iple Timelin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735822-5153-9E23-9F89-4726F640C9FE}"/>
              </a:ext>
            </a:extLst>
          </p:cNvPr>
          <p:cNvGraphicFramePr>
            <a:graphicFrameLocks noChangeAspect="1"/>
          </p:cNvGraphicFramePr>
          <p:nvPr userDrawn="1">
            <p:custDataLst>
              <p:tags r:id="rId1"/>
            </p:custDataLst>
            <p:extLst>
              <p:ext uri="{D42A27DB-BD31-4B8C-83A1-F6EECF244321}">
                <p14:modId xmlns:p14="http://schemas.microsoft.com/office/powerpoint/2010/main" val="1550830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5" name="think-cell data - do not delete" hidden="1">
                        <a:extLst>
                          <a:ext uri="{FF2B5EF4-FFF2-40B4-BE49-F238E27FC236}">
                            <a16:creationId xmlns:a16="http://schemas.microsoft.com/office/drawing/2014/main" id="{DD735822-5153-9E23-9F89-4726F640C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6" name="Group 35">
            <a:extLst>
              <a:ext uri="{FF2B5EF4-FFF2-40B4-BE49-F238E27FC236}">
                <a16:creationId xmlns:a16="http://schemas.microsoft.com/office/drawing/2014/main" id="{90124243-35B7-C068-DE23-492108FABDB9}"/>
              </a:ext>
              <a:ext uri="{C183D7F6-B498-43B3-948B-1728B52AA6E4}">
                <adec:decorative xmlns:adec="http://schemas.microsoft.com/office/drawing/2017/decorative" val="1"/>
              </a:ext>
            </a:extLst>
          </p:cNvPr>
          <p:cNvGrpSpPr/>
          <p:nvPr userDrawn="1"/>
        </p:nvGrpSpPr>
        <p:grpSpPr>
          <a:xfrm>
            <a:off x="283908" y="1777856"/>
            <a:ext cx="1170522" cy="4672600"/>
            <a:chOff x="240708" y="1496310"/>
            <a:chExt cx="1170522" cy="4672600"/>
          </a:xfrm>
        </p:grpSpPr>
        <p:sp>
          <p:nvSpPr>
            <p:cNvPr id="7" name="Freeform: Shape 6" descr="timeline ">
              <a:extLst>
                <a:ext uri="{FF2B5EF4-FFF2-40B4-BE49-F238E27FC236}">
                  <a16:creationId xmlns:a16="http://schemas.microsoft.com/office/drawing/2014/main" id="{85E97D83-32EE-1082-8AC3-2D488569095E}"/>
                </a:ext>
              </a:extLst>
            </p:cNvPr>
            <p:cNvSpPr/>
            <p:nvPr userDrawn="1"/>
          </p:nvSpPr>
          <p:spPr>
            <a:xfrm rot="16200000" flipV="1">
              <a:off x="-1456639"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8" name="Oval 7" descr="timeline endpoints">
              <a:extLst>
                <a:ext uri="{FF2B5EF4-FFF2-40B4-BE49-F238E27FC236}">
                  <a16:creationId xmlns:a16="http://schemas.microsoft.com/office/drawing/2014/main" id="{A68E7F3D-56B3-6400-38C6-48EA0FC2B65C}"/>
                </a:ext>
              </a:extLst>
            </p:cNvPr>
            <p:cNvSpPr/>
            <p:nvPr userDrawn="1"/>
          </p:nvSpPr>
          <p:spPr>
            <a:xfrm>
              <a:off x="74526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descr="timeline endpoints">
              <a:extLst>
                <a:ext uri="{FF2B5EF4-FFF2-40B4-BE49-F238E27FC236}">
                  <a16:creationId xmlns:a16="http://schemas.microsoft.com/office/drawing/2014/main" id="{A3B99CA7-DB66-357F-E082-9C19B50755E6}"/>
                </a:ext>
              </a:extLst>
            </p:cNvPr>
            <p:cNvSpPr/>
            <p:nvPr userDrawn="1"/>
          </p:nvSpPr>
          <p:spPr>
            <a:xfrm>
              <a:off x="74526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7" name="Group 36">
            <a:extLst>
              <a:ext uri="{FF2B5EF4-FFF2-40B4-BE49-F238E27FC236}">
                <a16:creationId xmlns:a16="http://schemas.microsoft.com/office/drawing/2014/main" id="{437EB441-7AC5-42B7-2BBE-D2AB4CEB7E08}"/>
              </a:ext>
              <a:ext uri="{C183D7F6-B498-43B3-948B-1728B52AA6E4}">
                <adec:decorative xmlns:adec="http://schemas.microsoft.com/office/drawing/2017/decorative" val="1"/>
              </a:ext>
            </a:extLst>
          </p:cNvPr>
          <p:cNvGrpSpPr/>
          <p:nvPr userDrawn="1"/>
        </p:nvGrpSpPr>
        <p:grpSpPr>
          <a:xfrm>
            <a:off x="4008135" y="1777856"/>
            <a:ext cx="1170522" cy="4672600"/>
            <a:chOff x="4335188" y="1496310"/>
            <a:chExt cx="1170522" cy="4672600"/>
          </a:xfrm>
        </p:grpSpPr>
        <p:sp>
          <p:nvSpPr>
            <p:cNvPr id="14" name="Freeform: Shape 13" descr="timeline ">
              <a:extLst>
                <a:ext uri="{FF2B5EF4-FFF2-40B4-BE49-F238E27FC236}">
                  <a16:creationId xmlns:a16="http://schemas.microsoft.com/office/drawing/2014/main" id="{3D5A0C1A-E309-F54E-56B1-C83E716B076E}"/>
                </a:ext>
              </a:extLst>
            </p:cNvPr>
            <p:cNvSpPr/>
            <p:nvPr userDrawn="1"/>
          </p:nvSpPr>
          <p:spPr>
            <a:xfrm rot="16200000" flipV="1">
              <a:off x="2637841"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15" name="Oval 14" descr="timeline endpoints">
              <a:extLst>
                <a:ext uri="{FF2B5EF4-FFF2-40B4-BE49-F238E27FC236}">
                  <a16:creationId xmlns:a16="http://schemas.microsoft.com/office/drawing/2014/main" id="{C320BD29-7F24-E436-41ED-2FB6B09FFA7D}"/>
                </a:ext>
              </a:extLst>
            </p:cNvPr>
            <p:cNvSpPr/>
            <p:nvPr userDrawn="1"/>
          </p:nvSpPr>
          <p:spPr>
            <a:xfrm>
              <a:off x="483974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descr="timeline endpoints">
              <a:extLst>
                <a:ext uri="{FF2B5EF4-FFF2-40B4-BE49-F238E27FC236}">
                  <a16:creationId xmlns:a16="http://schemas.microsoft.com/office/drawing/2014/main" id="{25CD3A00-642F-F865-8DF5-9FCA90EBD24F}"/>
                </a:ext>
              </a:extLst>
            </p:cNvPr>
            <p:cNvSpPr/>
            <p:nvPr userDrawn="1"/>
          </p:nvSpPr>
          <p:spPr>
            <a:xfrm>
              <a:off x="483974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8" name="Group 37">
            <a:extLst>
              <a:ext uri="{FF2B5EF4-FFF2-40B4-BE49-F238E27FC236}">
                <a16:creationId xmlns:a16="http://schemas.microsoft.com/office/drawing/2014/main" id="{4EC1A445-4A1E-0E9A-C43A-7286C5F4400C}"/>
              </a:ext>
              <a:ext uri="{C183D7F6-B498-43B3-948B-1728B52AA6E4}">
                <adec:decorative xmlns:adec="http://schemas.microsoft.com/office/drawing/2017/decorative" val="1"/>
              </a:ext>
            </a:extLst>
          </p:cNvPr>
          <p:cNvGrpSpPr/>
          <p:nvPr userDrawn="1"/>
        </p:nvGrpSpPr>
        <p:grpSpPr>
          <a:xfrm>
            <a:off x="7672465" y="1777856"/>
            <a:ext cx="1170522" cy="3537220"/>
            <a:chOff x="8358548" y="1496310"/>
            <a:chExt cx="1170522" cy="3537220"/>
          </a:xfrm>
        </p:grpSpPr>
        <p:sp>
          <p:nvSpPr>
            <p:cNvPr id="21" name="Freeform: Shape 20" descr="timeline ">
              <a:extLst>
                <a:ext uri="{FF2B5EF4-FFF2-40B4-BE49-F238E27FC236}">
                  <a16:creationId xmlns:a16="http://schemas.microsoft.com/office/drawing/2014/main" id="{4952EE22-E795-2FC7-052C-2BD82A656C94}"/>
                </a:ext>
              </a:extLst>
            </p:cNvPr>
            <p:cNvSpPr/>
            <p:nvPr userDrawn="1"/>
          </p:nvSpPr>
          <p:spPr>
            <a:xfrm rot="16200000" flipV="1">
              <a:off x="7226766" y="2676073"/>
              <a:ext cx="343408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 name="connsiteX0" fmla="*/ 1450740 w 5658183"/>
                <a:gd name="connsiteY0" fmla="*/ 725607 h 1450763"/>
                <a:gd name="connsiteX1" fmla="*/ 1449820 w 5658183"/>
                <a:gd name="connsiteY1" fmla="*/ 725607 h 1450763"/>
                <a:gd name="connsiteX2" fmla="*/ 1449796 w 5658183"/>
                <a:gd name="connsiteY2" fmla="*/ 725382 h 1450763"/>
                <a:gd name="connsiteX3" fmla="*/ 1449820 w 5658183"/>
                <a:gd name="connsiteY3" fmla="*/ 725157 h 1450763"/>
                <a:gd name="connsiteX4" fmla="*/ 1402860 w 5658183"/>
                <a:gd name="connsiteY4" fmla="*/ 725157 h 1450763"/>
                <a:gd name="connsiteX5" fmla="*/ 1389120 w 5658183"/>
                <a:gd name="connsiteY5" fmla="*/ 588840 h 1450763"/>
                <a:gd name="connsiteX6" fmla="*/ 725372 w 5658183"/>
                <a:gd name="connsiteY6" fmla="*/ 47869 h 1450763"/>
                <a:gd name="connsiteX7" fmla="*/ 47858 w 5658183"/>
                <a:gd name="connsiteY7" fmla="*/ 725382 h 1450763"/>
                <a:gd name="connsiteX8" fmla="*/ 47880 w 5658183"/>
                <a:gd name="connsiteY8" fmla="*/ 725607 h 1450763"/>
                <a:gd name="connsiteX9" fmla="*/ 0 w 5658183"/>
                <a:gd name="connsiteY9" fmla="*/ 725607 h 1450763"/>
                <a:gd name="connsiteX10" fmla="*/ 725372 w 5658183"/>
                <a:gd name="connsiteY10" fmla="*/ 1 h 1450763"/>
                <a:gd name="connsiteX11" fmla="*/ 1450752 w 5658183"/>
                <a:gd name="connsiteY11" fmla="*/ 725382 h 1450763"/>
                <a:gd name="connsiteX12" fmla="*/ 1450740 w 5658183"/>
                <a:gd name="connsiteY12" fmla="*/ 725607 h 1450763"/>
                <a:gd name="connsiteX13" fmla="*/ 4932802 w 5658183"/>
                <a:gd name="connsiteY13" fmla="*/ 1450762 h 1450763"/>
                <a:gd name="connsiteX14" fmla="*/ 4207421 w 5658183"/>
                <a:gd name="connsiteY14" fmla="*/ 725381 h 1450763"/>
                <a:gd name="connsiteX15" fmla="*/ 4207432 w 5658183"/>
                <a:gd name="connsiteY15" fmla="*/ 725156 h 1450763"/>
                <a:gd name="connsiteX16" fmla="*/ 4208353 w 5658183"/>
                <a:gd name="connsiteY16" fmla="*/ 725156 h 1450763"/>
                <a:gd name="connsiteX17" fmla="*/ 4208376 w 5658183"/>
                <a:gd name="connsiteY17" fmla="*/ 725381 h 1450763"/>
                <a:gd name="connsiteX18" fmla="*/ 4208353 w 5658183"/>
                <a:gd name="connsiteY18" fmla="*/ 725606 h 1450763"/>
                <a:gd name="connsiteX19" fmla="*/ 4255312 w 5658183"/>
                <a:gd name="connsiteY19" fmla="*/ 725606 h 1450763"/>
                <a:gd name="connsiteX20" fmla="*/ 4269054 w 5658183"/>
                <a:gd name="connsiteY20" fmla="*/ 861924 h 1450763"/>
                <a:gd name="connsiteX21" fmla="*/ 4932802 w 5658183"/>
                <a:gd name="connsiteY21" fmla="*/ 1402894 h 1450763"/>
                <a:gd name="connsiteX22" fmla="*/ 5610315 w 5658183"/>
                <a:gd name="connsiteY22" fmla="*/ 725381 h 1450763"/>
                <a:gd name="connsiteX23" fmla="*/ 5610292 w 5658183"/>
                <a:gd name="connsiteY23" fmla="*/ 725156 h 1450763"/>
                <a:gd name="connsiteX24" fmla="*/ 5658172 w 5658183"/>
                <a:gd name="connsiteY24" fmla="*/ 725156 h 1450763"/>
                <a:gd name="connsiteX25" fmla="*/ 5658183 w 5658183"/>
                <a:gd name="connsiteY25" fmla="*/ 725381 h 1450763"/>
                <a:gd name="connsiteX26" fmla="*/ 4932802 w 5658183"/>
                <a:gd name="connsiteY26" fmla="*/ 1450762 h 1450763"/>
                <a:gd name="connsiteX27" fmla="*/ 2127310 w 5658183"/>
                <a:gd name="connsiteY27" fmla="*/ 1450763 h 1450763"/>
                <a:gd name="connsiteX28" fmla="*/ 1401928 w 5658183"/>
                <a:gd name="connsiteY28" fmla="*/ 725382 h 1450763"/>
                <a:gd name="connsiteX29" fmla="*/ 1401940 w 5658183"/>
                <a:gd name="connsiteY29" fmla="*/ 725157 h 1450763"/>
                <a:gd name="connsiteX30" fmla="*/ 1402860 w 5658183"/>
                <a:gd name="connsiteY30" fmla="*/ 725157 h 1450763"/>
                <a:gd name="connsiteX31" fmla="*/ 1402884 w 5658183"/>
                <a:gd name="connsiteY31" fmla="*/ 725382 h 1450763"/>
                <a:gd name="connsiteX32" fmla="*/ 1402860 w 5658183"/>
                <a:gd name="connsiteY32" fmla="*/ 725607 h 1450763"/>
                <a:gd name="connsiteX33" fmla="*/ 1449820 w 5658183"/>
                <a:gd name="connsiteY33" fmla="*/ 725607 h 1450763"/>
                <a:gd name="connsiteX34" fmla="*/ 1463562 w 5658183"/>
                <a:gd name="connsiteY34" fmla="*/ 861925 h 1450763"/>
                <a:gd name="connsiteX35" fmla="*/ 2127310 w 5658183"/>
                <a:gd name="connsiteY35" fmla="*/ 1402895 h 1450763"/>
                <a:gd name="connsiteX36" fmla="*/ 2804823 w 5658183"/>
                <a:gd name="connsiteY36" fmla="*/ 725382 h 1450763"/>
                <a:gd name="connsiteX37" fmla="*/ 2804800 w 5658183"/>
                <a:gd name="connsiteY37" fmla="*/ 725157 h 1450763"/>
                <a:gd name="connsiteX38" fmla="*/ 2805505 w 5658183"/>
                <a:gd name="connsiteY38" fmla="*/ 725157 h 1450763"/>
                <a:gd name="connsiteX39" fmla="*/ 2820219 w 5658183"/>
                <a:gd name="connsiteY39" fmla="*/ 579192 h 1450763"/>
                <a:gd name="connsiteX40" fmla="*/ 3530863 w 5658183"/>
                <a:gd name="connsiteY40" fmla="*/ 0 h 1450763"/>
                <a:gd name="connsiteX41" fmla="*/ 4256244 w 5658183"/>
                <a:gd name="connsiteY41" fmla="*/ 725381 h 1450763"/>
                <a:gd name="connsiteX42" fmla="*/ 4256233 w 5658183"/>
                <a:gd name="connsiteY42" fmla="*/ 725606 h 1450763"/>
                <a:gd name="connsiteX43" fmla="*/ 4255312 w 5658183"/>
                <a:gd name="connsiteY43" fmla="*/ 725606 h 1450763"/>
                <a:gd name="connsiteX44" fmla="*/ 4255289 w 5658183"/>
                <a:gd name="connsiteY44" fmla="*/ 725381 h 1450763"/>
                <a:gd name="connsiteX45" fmla="*/ 4255312 w 5658183"/>
                <a:gd name="connsiteY45" fmla="*/ 725156 h 1450763"/>
                <a:gd name="connsiteX46" fmla="*/ 4208353 w 5658183"/>
                <a:gd name="connsiteY46" fmla="*/ 725156 h 1450763"/>
                <a:gd name="connsiteX47" fmla="*/ 4194611 w 5658183"/>
                <a:gd name="connsiteY47" fmla="*/ 588839 h 1450763"/>
                <a:gd name="connsiteX48" fmla="*/ 3530863 w 5658183"/>
                <a:gd name="connsiteY48" fmla="*/ 47868 h 1450763"/>
                <a:gd name="connsiteX49" fmla="*/ 2853350 w 5658183"/>
                <a:gd name="connsiteY49" fmla="*/ 725381 h 1450763"/>
                <a:gd name="connsiteX50" fmla="*/ 2853373 w 5658183"/>
                <a:gd name="connsiteY50" fmla="*/ 725606 h 1450763"/>
                <a:gd name="connsiteX51" fmla="*/ 2852668 w 5658183"/>
                <a:gd name="connsiteY51" fmla="*/ 725606 h 1450763"/>
                <a:gd name="connsiteX52" fmla="*/ 2837954 w 5658183"/>
                <a:gd name="connsiteY52" fmla="*/ 871572 h 1450763"/>
                <a:gd name="connsiteX53" fmla="*/ 2127310 w 5658183"/>
                <a:gd name="connsiteY53"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22 w 5610325"/>
                <a:gd name="connsiteY8" fmla="*/ 725607 h 1450763"/>
                <a:gd name="connsiteX9" fmla="*/ 677514 w 5610325"/>
                <a:gd name="connsiteY9" fmla="*/ 1 h 1450763"/>
                <a:gd name="connsiteX10" fmla="*/ 1402894 w 5610325"/>
                <a:gd name="connsiteY10" fmla="*/ 725382 h 1450763"/>
                <a:gd name="connsiteX11" fmla="*/ 1402882 w 5610325"/>
                <a:gd name="connsiteY11" fmla="*/ 725607 h 1450763"/>
                <a:gd name="connsiteX12" fmla="*/ 4884944 w 5610325"/>
                <a:gd name="connsiteY12" fmla="*/ 1450762 h 1450763"/>
                <a:gd name="connsiteX13" fmla="*/ 4159563 w 5610325"/>
                <a:gd name="connsiteY13" fmla="*/ 725381 h 1450763"/>
                <a:gd name="connsiteX14" fmla="*/ 4159574 w 5610325"/>
                <a:gd name="connsiteY14" fmla="*/ 725156 h 1450763"/>
                <a:gd name="connsiteX15" fmla="*/ 4160495 w 5610325"/>
                <a:gd name="connsiteY15" fmla="*/ 725156 h 1450763"/>
                <a:gd name="connsiteX16" fmla="*/ 4160518 w 5610325"/>
                <a:gd name="connsiteY16" fmla="*/ 725381 h 1450763"/>
                <a:gd name="connsiteX17" fmla="*/ 4160495 w 5610325"/>
                <a:gd name="connsiteY17" fmla="*/ 725606 h 1450763"/>
                <a:gd name="connsiteX18" fmla="*/ 4207454 w 5610325"/>
                <a:gd name="connsiteY18" fmla="*/ 725606 h 1450763"/>
                <a:gd name="connsiteX19" fmla="*/ 4221196 w 5610325"/>
                <a:gd name="connsiteY19" fmla="*/ 861924 h 1450763"/>
                <a:gd name="connsiteX20" fmla="*/ 4884944 w 5610325"/>
                <a:gd name="connsiteY20" fmla="*/ 1402894 h 1450763"/>
                <a:gd name="connsiteX21" fmla="*/ 5562457 w 5610325"/>
                <a:gd name="connsiteY21" fmla="*/ 725381 h 1450763"/>
                <a:gd name="connsiteX22" fmla="*/ 5562434 w 5610325"/>
                <a:gd name="connsiteY22" fmla="*/ 725156 h 1450763"/>
                <a:gd name="connsiteX23" fmla="*/ 5610314 w 5610325"/>
                <a:gd name="connsiteY23" fmla="*/ 725156 h 1450763"/>
                <a:gd name="connsiteX24" fmla="*/ 5610325 w 5610325"/>
                <a:gd name="connsiteY24" fmla="*/ 725381 h 1450763"/>
                <a:gd name="connsiteX25" fmla="*/ 4884944 w 5610325"/>
                <a:gd name="connsiteY25" fmla="*/ 1450762 h 1450763"/>
                <a:gd name="connsiteX26" fmla="*/ 2079452 w 5610325"/>
                <a:gd name="connsiteY26" fmla="*/ 1450763 h 1450763"/>
                <a:gd name="connsiteX27" fmla="*/ 1354070 w 5610325"/>
                <a:gd name="connsiteY27" fmla="*/ 725382 h 1450763"/>
                <a:gd name="connsiteX28" fmla="*/ 1354082 w 5610325"/>
                <a:gd name="connsiteY28" fmla="*/ 725157 h 1450763"/>
                <a:gd name="connsiteX29" fmla="*/ 1355002 w 5610325"/>
                <a:gd name="connsiteY29" fmla="*/ 725157 h 1450763"/>
                <a:gd name="connsiteX30" fmla="*/ 1355026 w 5610325"/>
                <a:gd name="connsiteY30" fmla="*/ 725382 h 1450763"/>
                <a:gd name="connsiteX31" fmla="*/ 1355002 w 5610325"/>
                <a:gd name="connsiteY31" fmla="*/ 725607 h 1450763"/>
                <a:gd name="connsiteX32" fmla="*/ 1401962 w 5610325"/>
                <a:gd name="connsiteY32" fmla="*/ 725607 h 1450763"/>
                <a:gd name="connsiteX33" fmla="*/ 1415704 w 5610325"/>
                <a:gd name="connsiteY33" fmla="*/ 861925 h 1450763"/>
                <a:gd name="connsiteX34" fmla="*/ 2079452 w 5610325"/>
                <a:gd name="connsiteY34" fmla="*/ 1402895 h 1450763"/>
                <a:gd name="connsiteX35" fmla="*/ 2756965 w 5610325"/>
                <a:gd name="connsiteY35" fmla="*/ 725382 h 1450763"/>
                <a:gd name="connsiteX36" fmla="*/ 2756942 w 5610325"/>
                <a:gd name="connsiteY36" fmla="*/ 725157 h 1450763"/>
                <a:gd name="connsiteX37" fmla="*/ 2757647 w 5610325"/>
                <a:gd name="connsiteY37" fmla="*/ 725157 h 1450763"/>
                <a:gd name="connsiteX38" fmla="*/ 2772361 w 5610325"/>
                <a:gd name="connsiteY38" fmla="*/ 579192 h 1450763"/>
                <a:gd name="connsiteX39" fmla="*/ 3483005 w 5610325"/>
                <a:gd name="connsiteY39" fmla="*/ 0 h 1450763"/>
                <a:gd name="connsiteX40" fmla="*/ 4208386 w 5610325"/>
                <a:gd name="connsiteY40" fmla="*/ 725381 h 1450763"/>
                <a:gd name="connsiteX41" fmla="*/ 4208375 w 5610325"/>
                <a:gd name="connsiteY41" fmla="*/ 725606 h 1450763"/>
                <a:gd name="connsiteX42" fmla="*/ 4207454 w 5610325"/>
                <a:gd name="connsiteY42" fmla="*/ 725606 h 1450763"/>
                <a:gd name="connsiteX43" fmla="*/ 4207431 w 5610325"/>
                <a:gd name="connsiteY43" fmla="*/ 725381 h 1450763"/>
                <a:gd name="connsiteX44" fmla="*/ 4207454 w 5610325"/>
                <a:gd name="connsiteY44" fmla="*/ 725156 h 1450763"/>
                <a:gd name="connsiteX45" fmla="*/ 4160495 w 5610325"/>
                <a:gd name="connsiteY45" fmla="*/ 725156 h 1450763"/>
                <a:gd name="connsiteX46" fmla="*/ 4146753 w 5610325"/>
                <a:gd name="connsiteY46" fmla="*/ 588839 h 1450763"/>
                <a:gd name="connsiteX47" fmla="*/ 3483005 w 5610325"/>
                <a:gd name="connsiteY47" fmla="*/ 47868 h 1450763"/>
                <a:gd name="connsiteX48" fmla="*/ 2805492 w 5610325"/>
                <a:gd name="connsiteY48" fmla="*/ 725381 h 1450763"/>
                <a:gd name="connsiteX49" fmla="*/ 2805515 w 5610325"/>
                <a:gd name="connsiteY49" fmla="*/ 725606 h 1450763"/>
                <a:gd name="connsiteX50" fmla="*/ 2804810 w 5610325"/>
                <a:gd name="connsiteY50" fmla="*/ 725606 h 1450763"/>
                <a:gd name="connsiteX51" fmla="*/ 2790096 w 5610325"/>
                <a:gd name="connsiteY51" fmla="*/ 871572 h 1450763"/>
                <a:gd name="connsiteX52" fmla="*/ 2079452 w 5610325"/>
                <a:gd name="connsiteY52"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677514 w 5610325"/>
                <a:gd name="connsiteY8" fmla="*/ 1 h 1450763"/>
                <a:gd name="connsiteX9" fmla="*/ 1402894 w 5610325"/>
                <a:gd name="connsiteY9" fmla="*/ 725382 h 1450763"/>
                <a:gd name="connsiteX10" fmla="*/ 1402882 w 5610325"/>
                <a:gd name="connsiteY10" fmla="*/ 725607 h 1450763"/>
                <a:gd name="connsiteX11" fmla="*/ 4884944 w 5610325"/>
                <a:gd name="connsiteY11" fmla="*/ 1450762 h 1450763"/>
                <a:gd name="connsiteX12" fmla="*/ 4159563 w 5610325"/>
                <a:gd name="connsiteY12" fmla="*/ 725381 h 1450763"/>
                <a:gd name="connsiteX13" fmla="*/ 4159574 w 5610325"/>
                <a:gd name="connsiteY13" fmla="*/ 725156 h 1450763"/>
                <a:gd name="connsiteX14" fmla="*/ 4160495 w 5610325"/>
                <a:gd name="connsiteY14" fmla="*/ 725156 h 1450763"/>
                <a:gd name="connsiteX15" fmla="*/ 4160518 w 5610325"/>
                <a:gd name="connsiteY15" fmla="*/ 725381 h 1450763"/>
                <a:gd name="connsiteX16" fmla="*/ 4160495 w 5610325"/>
                <a:gd name="connsiteY16" fmla="*/ 725606 h 1450763"/>
                <a:gd name="connsiteX17" fmla="*/ 4207454 w 5610325"/>
                <a:gd name="connsiteY17" fmla="*/ 725606 h 1450763"/>
                <a:gd name="connsiteX18" fmla="*/ 4221196 w 5610325"/>
                <a:gd name="connsiteY18" fmla="*/ 861924 h 1450763"/>
                <a:gd name="connsiteX19" fmla="*/ 4884944 w 5610325"/>
                <a:gd name="connsiteY19" fmla="*/ 1402894 h 1450763"/>
                <a:gd name="connsiteX20" fmla="*/ 5562457 w 5610325"/>
                <a:gd name="connsiteY20" fmla="*/ 725381 h 1450763"/>
                <a:gd name="connsiteX21" fmla="*/ 5562434 w 5610325"/>
                <a:gd name="connsiteY21" fmla="*/ 725156 h 1450763"/>
                <a:gd name="connsiteX22" fmla="*/ 5610314 w 5610325"/>
                <a:gd name="connsiteY22" fmla="*/ 725156 h 1450763"/>
                <a:gd name="connsiteX23" fmla="*/ 5610325 w 5610325"/>
                <a:gd name="connsiteY23" fmla="*/ 725381 h 1450763"/>
                <a:gd name="connsiteX24" fmla="*/ 4884944 w 5610325"/>
                <a:gd name="connsiteY24" fmla="*/ 1450762 h 1450763"/>
                <a:gd name="connsiteX25" fmla="*/ 2079452 w 5610325"/>
                <a:gd name="connsiteY25" fmla="*/ 1450763 h 1450763"/>
                <a:gd name="connsiteX26" fmla="*/ 1354070 w 5610325"/>
                <a:gd name="connsiteY26" fmla="*/ 725382 h 1450763"/>
                <a:gd name="connsiteX27" fmla="*/ 1354082 w 5610325"/>
                <a:gd name="connsiteY27" fmla="*/ 725157 h 1450763"/>
                <a:gd name="connsiteX28" fmla="*/ 1355002 w 5610325"/>
                <a:gd name="connsiteY28" fmla="*/ 725157 h 1450763"/>
                <a:gd name="connsiteX29" fmla="*/ 1355026 w 5610325"/>
                <a:gd name="connsiteY29" fmla="*/ 725382 h 1450763"/>
                <a:gd name="connsiteX30" fmla="*/ 1355002 w 5610325"/>
                <a:gd name="connsiteY30" fmla="*/ 725607 h 1450763"/>
                <a:gd name="connsiteX31" fmla="*/ 1401962 w 5610325"/>
                <a:gd name="connsiteY31" fmla="*/ 725607 h 1450763"/>
                <a:gd name="connsiteX32" fmla="*/ 1415704 w 5610325"/>
                <a:gd name="connsiteY32" fmla="*/ 861925 h 1450763"/>
                <a:gd name="connsiteX33" fmla="*/ 2079452 w 5610325"/>
                <a:gd name="connsiteY33" fmla="*/ 1402895 h 1450763"/>
                <a:gd name="connsiteX34" fmla="*/ 2756965 w 5610325"/>
                <a:gd name="connsiteY34" fmla="*/ 725382 h 1450763"/>
                <a:gd name="connsiteX35" fmla="*/ 2756942 w 5610325"/>
                <a:gd name="connsiteY35" fmla="*/ 725157 h 1450763"/>
                <a:gd name="connsiteX36" fmla="*/ 2757647 w 5610325"/>
                <a:gd name="connsiteY36" fmla="*/ 725157 h 1450763"/>
                <a:gd name="connsiteX37" fmla="*/ 2772361 w 5610325"/>
                <a:gd name="connsiteY37" fmla="*/ 579192 h 1450763"/>
                <a:gd name="connsiteX38" fmla="*/ 3483005 w 5610325"/>
                <a:gd name="connsiteY38" fmla="*/ 0 h 1450763"/>
                <a:gd name="connsiteX39" fmla="*/ 4208386 w 5610325"/>
                <a:gd name="connsiteY39" fmla="*/ 725381 h 1450763"/>
                <a:gd name="connsiteX40" fmla="*/ 4208375 w 5610325"/>
                <a:gd name="connsiteY40" fmla="*/ 725606 h 1450763"/>
                <a:gd name="connsiteX41" fmla="*/ 4207454 w 5610325"/>
                <a:gd name="connsiteY41" fmla="*/ 725606 h 1450763"/>
                <a:gd name="connsiteX42" fmla="*/ 4207431 w 5610325"/>
                <a:gd name="connsiteY42" fmla="*/ 725381 h 1450763"/>
                <a:gd name="connsiteX43" fmla="*/ 4207454 w 5610325"/>
                <a:gd name="connsiteY43" fmla="*/ 725156 h 1450763"/>
                <a:gd name="connsiteX44" fmla="*/ 4160495 w 5610325"/>
                <a:gd name="connsiteY44" fmla="*/ 725156 h 1450763"/>
                <a:gd name="connsiteX45" fmla="*/ 4146753 w 5610325"/>
                <a:gd name="connsiteY45" fmla="*/ 588839 h 1450763"/>
                <a:gd name="connsiteX46" fmla="*/ 3483005 w 5610325"/>
                <a:gd name="connsiteY46" fmla="*/ 47868 h 1450763"/>
                <a:gd name="connsiteX47" fmla="*/ 2805492 w 5610325"/>
                <a:gd name="connsiteY47" fmla="*/ 725381 h 1450763"/>
                <a:gd name="connsiteX48" fmla="*/ 2805515 w 5610325"/>
                <a:gd name="connsiteY48" fmla="*/ 725606 h 1450763"/>
                <a:gd name="connsiteX49" fmla="*/ 2804810 w 5610325"/>
                <a:gd name="connsiteY49" fmla="*/ 725606 h 1450763"/>
                <a:gd name="connsiteX50" fmla="*/ 2790096 w 5610325"/>
                <a:gd name="connsiteY50" fmla="*/ 871572 h 1450763"/>
                <a:gd name="connsiteX51" fmla="*/ 2079452 w 5610325"/>
                <a:gd name="connsiteY51" fmla="*/ 1450763 h 1450763"/>
                <a:gd name="connsiteX0" fmla="*/ 812232 w 5019675"/>
                <a:gd name="connsiteY0" fmla="*/ 785965 h 1511121"/>
                <a:gd name="connsiteX1" fmla="*/ 811312 w 5019675"/>
                <a:gd name="connsiteY1" fmla="*/ 785965 h 1511121"/>
                <a:gd name="connsiteX2" fmla="*/ 811288 w 5019675"/>
                <a:gd name="connsiteY2" fmla="*/ 785740 h 1511121"/>
                <a:gd name="connsiteX3" fmla="*/ 811312 w 5019675"/>
                <a:gd name="connsiteY3" fmla="*/ 785515 h 1511121"/>
                <a:gd name="connsiteX4" fmla="*/ 764352 w 5019675"/>
                <a:gd name="connsiteY4" fmla="*/ 785515 h 1511121"/>
                <a:gd name="connsiteX5" fmla="*/ 750612 w 5019675"/>
                <a:gd name="connsiteY5" fmla="*/ 649198 h 1511121"/>
                <a:gd name="connsiteX6" fmla="*/ 86864 w 5019675"/>
                <a:gd name="connsiteY6" fmla="*/ 108227 h 1511121"/>
                <a:gd name="connsiteX7" fmla="*/ 86864 w 5019675"/>
                <a:gd name="connsiteY7" fmla="*/ 60359 h 1511121"/>
                <a:gd name="connsiteX8" fmla="*/ 812244 w 5019675"/>
                <a:gd name="connsiteY8" fmla="*/ 785740 h 1511121"/>
                <a:gd name="connsiteX9" fmla="*/ 812232 w 5019675"/>
                <a:gd name="connsiteY9" fmla="*/ 785965 h 1511121"/>
                <a:gd name="connsiteX10" fmla="*/ 4294294 w 5019675"/>
                <a:gd name="connsiteY10" fmla="*/ 1511120 h 1511121"/>
                <a:gd name="connsiteX11" fmla="*/ 3568913 w 5019675"/>
                <a:gd name="connsiteY11" fmla="*/ 785739 h 1511121"/>
                <a:gd name="connsiteX12" fmla="*/ 3568924 w 5019675"/>
                <a:gd name="connsiteY12" fmla="*/ 785514 h 1511121"/>
                <a:gd name="connsiteX13" fmla="*/ 3569845 w 5019675"/>
                <a:gd name="connsiteY13" fmla="*/ 785514 h 1511121"/>
                <a:gd name="connsiteX14" fmla="*/ 3569868 w 5019675"/>
                <a:gd name="connsiteY14" fmla="*/ 785739 h 1511121"/>
                <a:gd name="connsiteX15" fmla="*/ 3569845 w 5019675"/>
                <a:gd name="connsiteY15" fmla="*/ 785964 h 1511121"/>
                <a:gd name="connsiteX16" fmla="*/ 3616804 w 5019675"/>
                <a:gd name="connsiteY16" fmla="*/ 785964 h 1511121"/>
                <a:gd name="connsiteX17" fmla="*/ 3630546 w 5019675"/>
                <a:gd name="connsiteY17" fmla="*/ 922282 h 1511121"/>
                <a:gd name="connsiteX18" fmla="*/ 4294294 w 5019675"/>
                <a:gd name="connsiteY18" fmla="*/ 1463252 h 1511121"/>
                <a:gd name="connsiteX19" fmla="*/ 4971807 w 5019675"/>
                <a:gd name="connsiteY19" fmla="*/ 785739 h 1511121"/>
                <a:gd name="connsiteX20" fmla="*/ 4971784 w 5019675"/>
                <a:gd name="connsiteY20" fmla="*/ 785514 h 1511121"/>
                <a:gd name="connsiteX21" fmla="*/ 5019664 w 5019675"/>
                <a:gd name="connsiteY21" fmla="*/ 785514 h 1511121"/>
                <a:gd name="connsiteX22" fmla="*/ 5019675 w 5019675"/>
                <a:gd name="connsiteY22" fmla="*/ 785739 h 1511121"/>
                <a:gd name="connsiteX23" fmla="*/ 4294294 w 5019675"/>
                <a:gd name="connsiteY23" fmla="*/ 1511120 h 1511121"/>
                <a:gd name="connsiteX24" fmla="*/ 1488802 w 5019675"/>
                <a:gd name="connsiteY24" fmla="*/ 1511121 h 1511121"/>
                <a:gd name="connsiteX25" fmla="*/ 763420 w 5019675"/>
                <a:gd name="connsiteY25" fmla="*/ 785740 h 1511121"/>
                <a:gd name="connsiteX26" fmla="*/ 763432 w 5019675"/>
                <a:gd name="connsiteY26" fmla="*/ 785515 h 1511121"/>
                <a:gd name="connsiteX27" fmla="*/ 764352 w 5019675"/>
                <a:gd name="connsiteY27" fmla="*/ 785515 h 1511121"/>
                <a:gd name="connsiteX28" fmla="*/ 764376 w 5019675"/>
                <a:gd name="connsiteY28" fmla="*/ 785740 h 1511121"/>
                <a:gd name="connsiteX29" fmla="*/ 764352 w 5019675"/>
                <a:gd name="connsiteY29" fmla="*/ 785965 h 1511121"/>
                <a:gd name="connsiteX30" fmla="*/ 811312 w 5019675"/>
                <a:gd name="connsiteY30" fmla="*/ 785965 h 1511121"/>
                <a:gd name="connsiteX31" fmla="*/ 825054 w 5019675"/>
                <a:gd name="connsiteY31" fmla="*/ 922283 h 1511121"/>
                <a:gd name="connsiteX32" fmla="*/ 1488802 w 5019675"/>
                <a:gd name="connsiteY32" fmla="*/ 1463253 h 1511121"/>
                <a:gd name="connsiteX33" fmla="*/ 2166315 w 5019675"/>
                <a:gd name="connsiteY33" fmla="*/ 785740 h 1511121"/>
                <a:gd name="connsiteX34" fmla="*/ 2166292 w 5019675"/>
                <a:gd name="connsiteY34" fmla="*/ 785515 h 1511121"/>
                <a:gd name="connsiteX35" fmla="*/ 2166997 w 5019675"/>
                <a:gd name="connsiteY35" fmla="*/ 785515 h 1511121"/>
                <a:gd name="connsiteX36" fmla="*/ 2181711 w 5019675"/>
                <a:gd name="connsiteY36" fmla="*/ 639550 h 1511121"/>
                <a:gd name="connsiteX37" fmla="*/ 2892355 w 5019675"/>
                <a:gd name="connsiteY37" fmla="*/ 60358 h 1511121"/>
                <a:gd name="connsiteX38" fmla="*/ 3617736 w 5019675"/>
                <a:gd name="connsiteY38" fmla="*/ 785739 h 1511121"/>
                <a:gd name="connsiteX39" fmla="*/ 3617725 w 5019675"/>
                <a:gd name="connsiteY39" fmla="*/ 785964 h 1511121"/>
                <a:gd name="connsiteX40" fmla="*/ 3616804 w 5019675"/>
                <a:gd name="connsiteY40" fmla="*/ 785964 h 1511121"/>
                <a:gd name="connsiteX41" fmla="*/ 3616781 w 5019675"/>
                <a:gd name="connsiteY41" fmla="*/ 785739 h 1511121"/>
                <a:gd name="connsiteX42" fmla="*/ 3616804 w 5019675"/>
                <a:gd name="connsiteY42" fmla="*/ 785514 h 1511121"/>
                <a:gd name="connsiteX43" fmla="*/ 3569845 w 5019675"/>
                <a:gd name="connsiteY43" fmla="*/ 785514 h 1511121"/>
                <a:gd name="connsiteX44" fmla="*/ 3556103 w 5019675"/>
                <a:gd name="connsiteY44" fmla="*/ 649197 h 1511121"/>
                <a:gd name="connsiteX45" fmla="*/ 2892355 w 5019675"/>
                <a:gd name="connsiteY45" fmla="*/ 108226 h 1511121"/>
                <a:gd name="connsiteX46" fmla="*/ 2214842 w 5019675"/>
                <a:gd name="connsiteY46" fmla="*/ 785739 h 1511121"/>
                <a:gd name="connsiteX47" fmla="*/ 2214865 w 5019675"/>
                <a:gd name="connsiteY47" fmla="*/ 785964 h 1511121"/>
                <a:gd name="connsiteX48" fmla="*/ 2214160 w 5019675"/>
                <a:gd name="connsiteY48" fmla="*/ 785964 h 1511121"/>
                <a:gd name="connsiteX49" fmla="*/ 2199446 w 5019675"/>
                <a:gd name="connsiteY49" fmla="*/ 931930 h 1511121"/>
                <a:gd name="connsiteX50" fmla="*/ 1488802 w 5019675"/>
                <a:gd name="connsiteY50" fmla="*/ 1511121 h 1511121"/>
                <a:gd name="connsiteX0" fmla="*/ 725497 w 4932940"/>
                <a:gd name="connsiteY0" fmla="*/ 725607 h 1450763"/>
                <a:gd name="connsiteX1" fmla="*/ 724577 w 4932940"/>
                <a:gd name="connsiteY1" fmla="*/ 725607 h 1450763"/>
                <a:gd name="connsiteX2" fmla="*/ 724553 w 4932940"/>
                <a:gd name="connsiteY2" fmla="*/ 725382 h 1450763"/>
                <a:gd name="connsiteX3" fmla="*/ 724577 w 4932940"/>
                <a:gd name="connsiteY3" fmla="*/ 725157 h 1450763"/>
                <a:gd name="connsiteX4" fmla="*/ 677617 w 4932940"/>
                <a:gd name="connsiteY4" fmla="*/ 725157 h 1450763"/>
                <a:gd name="connsiteX5" fmla="*/ 663877 w 4932940"/>
                <a:gd name="connsiteY5" fmla="*/ 588840 h 1450763"/>
                <a:gd name="connsiteX6" fmla="*/ 129 w 4932940"/>
                <a:gd name="connsiteY6" fmla="*/ 47869 h 1450763"/>
                <a:gd name="connsiteX7" fmla="*/ 725509 w 4932940"/>
                <a:gd name="connsiteY7" fmla="*/ 725382 h 1450763"/>
                <a:gd name="connsiteX8" fmla="*/ 725497 w 4932940"/>
                <a:gd name="connsiteY8" fmla="*/ 725607 h 1450763"/>
                <a:gd name="connsiteX9" fmla="*/ 4207559 w 4932940"/>
                <a:gd name="connsiteY9" fmla="*/ 1450762 h 1450763"/>
                <a:gd name="connsiteX10" fmla="*/ 3482178 w 4932940"/>
                <a:gd name="connsiteY10" fmla="*/ 725381 h 1450763"/>
                <a:gd name="connsiteX11" fmla="*/ 3482189 w 4932940"/>
                <a:gd name="connsiteY11" fmla="*/ 725156 h 1450763"/>
                <a:gd name="connsiteX12" fmla="*/ 3483110 w 4932940"/>
                <a:gd name="connsiteY12" fmla="*/ 725156 h 1450763"/>
                <a:gd name="connsiteX13" fmla="*/ 3483133 w 4932940"/>
                <a:gd name="connsiteY13" fmla="*/ 725381 h 1450763"/>
                <a:gd name="connsiteX14" fmla="*/ 3483110 w 4932940"/>
                <a:gd name="connsiteY14" fmla="*/ 725606 h 1450763"/>
                <a:gd name="connsiteX15" fmla="*/ 3530069 w 4932940"/>
                <a:gd name="connsiteY15" fmla="*/ 725606 h 1450763"/>
                <a:gd name="connsiteX16" fmla="*/ 3543811 w 4932940"/>
                <a:gd name="connsiteY16" fmla="*/ 861924 h 1450763"/>
                <a:gd name="connsiteX17" fmla="*/ 4207559 w 4932940"/>
                <a:gd name="connsiteY17" fmla="*/ 1402894 h 1450763"/>
                <a:gd name="connsiteX18" fmla="*/ 4885072 w 4932940"/>
                <a:gd name="connsiteY18" fmla="*/ 725381 h 1450763"/>
                <a:gd name="connsiteX19" fmla="*/ 4885049 w 4932940"/>
                <a:gd name="connsiteY19" fmla="*/ 725156 h 1450763"/>
                <a:gd name="connsiteX20" fmla="*/ 4932929 w 4932940"/>
                <a:gd name="connsiteY20" fmla="*/ 725156 h 1450763"/>
                <a:gd name="connsiteX21" fmla="*/ 4932940 w 4932940"/>
                <a:gd name="connsiteY21" fmla="*/ 725381 h 1450763"/>
                <a:gd name="connsiteX22" fmla="*/ 4207559 w 4932940"/>
                <a:gd name="connsiteY22" fmla="*/ 1450762 h 1450763"/>
                <a:gd name="connsiteX23" fmla="*/ 1402067 w 4932940"/>
                <a:gd name="connsiteY23" fmla="*/ 1450763 h 1450763"/>
                <a:gd name="connsiteX24" fmla="*/ 676685 w 4932940"/>
                <a:gd name="connsiteY24" fmla="*/ 725382 h 1450763"/>
                <a:gd name="connsiteX25" fmla="*/ 676697 w 4932940"/>
                <a:gd name="connsiteY25" fmla="*/ 725157 h 1450763"/>
                <a:gd name="connsiteX26" fmla="*/ 677617 w 4932940"/>
                <a:gd name="connsiteY26" fmla="*/ 725157 h 1450763"/>
                <a:gd name="connsiteX27" fmla="*/ 677641 w 4932940"/>
                <a:gd name="connsiteY27" fmla="*/ 725382 h 1450763"/>
                <a:gd name="connsiteX28" fmla="*/ 677617 w 4932940"/>
                <a:gd name="connsiteY28" fmla="*/ 725607 h 1450763"/>
                <a:gd name="connsiteX29" fmla="*/ 724577 w 4932940"/>
                <a:gd name="connsiteY29" fmla="*/ 725607 h 1450763"/>
                <a:gd name="connsiteX30" fmla="*/ 738319 w 4932940"/>
                <a:gd name="connsiteY30" fmla="*/ 861925 h 1450763"/>
                <a:gd name="connsiteX31" fmla="*/ 1402067 w 4932940"/>
                <a:gd name="connsiteY31" fmla="*/ 1402895 h 1450763"/>
                <a:gd name="connsiteX32" fmla="*/ 2079580 w 4932940"/>
                <a:gd name="connsiteY32" fmla="*/ 725382 h 1450763"/>
                <a:gd name="connsiteX33" fmla="*/ 2079557 w 4932940"/>
                <a:gd name="connsiteY33" fmla="*/ 725157 h 1450763"/>
                <a:gd name="connsiteX34" fmla="*/ 2080262 w 4932940"/>
                <a:gd name="connsiteY34" fmla="*/ 725157 h 1450763"/>
                <a:gd name="connsiteX35" fmla="*/ 2094976 w 4932940"/>
                <a:gd name="connsiteY35" fmla="*/ 579192 h 1450763"/>
                <a:gd name="connsiteX36" fmla="*/ 2805620 w 4932940"/>
                <a:gd name="connsiteY36" fmla="*/ 0 h 1450763"/>
                <a:gd name="connsiteX37" fmla="*/ 3531001 w 4932940"/>
                <a:gd name="connsiteY37" fmla="*/ 725381 h 1450763"/>
                <a:gd name="connsiteX38" fmla="*/ 3530990 w 4932940"/>
                <a:gd name="connsiteY38" fmla="*/ 725606 h 1450763"/>
                <a:gd name="connsiteX39" fmla="*/ 3530069 w 4932940"/>
                <a:gd name="connsiteY39" fmla="*/ 725606 h 1450763"/>
                <a:gd name="connsiteX40" fmla="*/ 3530046 w 4932940"/>
                <a:gd name="connsiteY40" fmla="*/ 725381 h 1450763"/>
                <a:gd name="connsiteX41" fmla="*/ 3530069 w 4932940"/>
                <a:gd name="connsiteY41" fmla="*/ 725156 h 1450763"/>
                <a:gd name="connsiteX42" fmla="*/ 3483110 w 4932940"/>
                <a:gd name="connsiteY42" fmla="*/ 725156 h 1450763"/>
                <a:gd name="connsiteX43" fmla="*/ 3469368 w 4932940"/>
                <a:gd name="connsiteY43" fmla="*/ 588839 h 1450763"/>
                <a:gd name="connsiteX44" fmla="*/ 2805620 w 4932940"/>
                <a:gd name="connsiteY44" fmla="*/ 47868 h 1450763"/>
                <a:gd name="connsiteX45" fmla="*/ 2128107 w 4932940"/>
                <a:gd name="connsiteY45" fmla="*/ 725381 h 1450763"/>
                <a:gd name="connsiteX46" fmla="*/ 2128130 w 4932940"/>
                <a:gd name="connsiteY46" fmla="*/ 725606 h 1450763"/>
                <a:gd name="connsiteX47" fmla="*/ 2127425 w 4932940"/>
                <a:gd name="connsiteY47" fmla="*/ 725606 h 1450763"/>
                <a:gd name="connsiteX48" fmla="*/ 2112711 w 4932940"/>
                <a:gd name="connsiteY48" fmla="*/ 871572 h 1450763"/>
                <a:gd name="connsiteX49" fmla="*/ 1402067 w 4932940"/>
                <a:gd name="connsiteY49" fmla="*/ 1450763 h 1450763"/>
                <a:gd name="connsiteX0" fmla="*/ 61620 w 4269063"/>
                <a:gd name="connsiteY0" fmla="*/ 725607 h 1450763"/>
                <a:gd name="connsiteX1" fmla="*/ 60700 w 4269063"/>
                <a:gd name="connsiteY1" fmla="*/ 725607 h 1450763"/>
                <a:gd name="connsiteX2" fmla="*/ 60676 w 4269063"/>
                <a:gd name="connsiteY2" fmla="*/ 725382 h 1450763"/>
                <a:gd name="connsiteX3" fmla="*/ 60700 w 4269063"/>
                <a:gd name="connsiteY3" fmla="*/ 725157 h 1450763"/>
                <a:gd name="connsiteX4" fmla="*/ 13740 w 4269063"/>
                <a:gd name="connsiteY4" fmla="*/ 725157 h 1450763"/>
                <a:gd name="connsiteX5" fmla="*/ 0 w 4269063"/>
                <a:gd name="connsiteY5" fmla="*/ 588840 h 1450763"/>
                <a:gd name="connsiteX6" fmla="*/ 61632 w 4269063"/>
                <a:gd name="connsiteY6" fmla="*/ 725382 h 1450763"/>
                <a:gd name="connsiteX7" fmla="*/ 61620 w 4269063"/>
                <a:gd name="connsiteY7" fmla="*/ 725607 h 1450763"/>
                <a:gd name="connsiteX8" fmla="*/ 3543682 w 4269063"/>
                <a:gd name="connsiteY8" fmla="*/ 1450762 h 1450763"/>
                <a:gd name="connsiteX9" fmla="*/ 2818301 w 4269063"/>
                <a:gd name="connsiteY9" fmla="*/ 725381 h 1450763"/>
                <a:gd name="connsiteX10" fmla="*/ 2818312 w 4269063"/>
                <a:gd name="connsiteY10" fmla="*/ 725156 h 1450763"/>
                <a:gd name="connsiteX11" fmla="*/ 2819233 w 4269063"/>
                <a:gd name="connsiteY11" fmla="*/ 725156 h 1450763"/>
                <a:gd name="connsiteX12" fmla="*/ 2819256 w 4269063"/>
                <a:gd name="connsiteY12" fmla="*/ 725381 h 1450763"/>
                <a:gd name="connsiteX13" fmla="*/ 2819233 w 4269063"/>
                <a:gd name="connsiteY13" fmla="*/ 725606 h 1450763"/>
                <a:gd name="connsiteX14" fmla="*/ 2866192 w 4269063"/>
                <a:gd name="connsiteY14" fmla="*/ 725606 h 1450763"/>
                <a:gd name="connsiteX15" fmla="*/ 2879934 w 4269063"/>
                <a:gd name="connsiteY15" fmla="*/ 861924 h 1450763"/>
                <a:gd name="connsiteX16" fmla="*/ 3543682 w 4269063"/>
                <a:gd name="connsiteY16" fmla="*/ 1402894 h 1450763"/>
                <a:gd name="connsiteX17" fmla="*/ 4221195 w 4269063"/>
                <a:gd name="connsiteY17" fmla="*/ 725381 h 1450763"/>
                <a:gd name="connsiteX18" fmla="*/ 4221172 w 4269063"/>
                <a:gd name="connsiteY18" fmla="*/ 725156 h 1450763"/>
                <a:gd name="connsiteX19" fmla="*/ 4269052 w 4269063"/>
                <a:gd name="connsiteY19" fmla="*/ 725156 h 1450763"/>
                <a:gd name="connsiteX20" fmla="*/ 4269063 w 4269063"/>
                <a:gd name="connsiteY20" fmla="*/ 725381 h 1450763"/>
                <a:gd name="connsiteX21" fmla="*/ 3543682 w 4269063"/>
                <a:gd name="connsiteY21" fmla="*/ 1450762 h 1450763"/>
                <a:gd name="connsiteX22" fmla="*/ 738190 w 4269063"/>
                <a:gd name="connsiteY22" fmla="*/ 1450763 h 1450763"/>
                <a:gd name="connsiteX23" fmla="*/ 12808 w 4269063"/>
                <a:gd name="connsiteY23" fmla="*/ 725382 h 1450763"/>
                <a:gd name="connsiteX24" fmla="*/ 12820 w 4269063"/>
                <a:gd name="connsiteY24" fmla="*/ 725157 h 1450763"/>
                <a:gd name="connsiteX25" fmla="*/ 13740 w 4269063"/>
                <a:gd name="connsiteY25" fmla="*/ 725157 h 1450763"/>
                <a:gd name="connsiteX26" fmla="*/ 13764 w 4269063"/>
                <a:gd name="connsiteY26" fmla="*/ 725382 h 1450763"/>
                <a:gd name="connsiteX27" fmla="*/ 13740 w 4269063"/>
                <a:gd name="connsiteY27" fmla="*/ 725607 h 1450763"/>
                <a:gd name="connsiteX28" fmla="*/ 60700 w 4269063"/>
                <a:gd name="connsiteY28" fmla="*/ 725607 h 1450763"/>
                <a:gd name="connsiteX29" fmla="*/ 74442 w 4269063"/>
                <a:gd name="connsiteY29" fmla="*/ 861925 h 1450763"/>
                <a:gd name="connsiteX30" fmla="*/ 738190 w 4269063"/>
                <a:gd name="connsiteY30" fmla="*/ 1402895 h 1450763"/>
                <a:gd name="connsiteX31" fmla="*/ 1415703 w 4269063"/>
                <a:gd name="connsiteY31" fmla="*/ 725382 h 1450763"/>
                <a:gd name="connsiteX32" fmla="*/ 1415680 w 4269063"/>
                <a:gd name="connsiteY32" fmla="*/ 725157 h 1450763"/>
                <a:gd name="connsiteX33" fmla="*/ 1416385 w 4269063"/>
                <a:gd name="connsiteY33" fmla="*/ 725157 h 1450763"/>
                <a:gd name="connsiteX34" fmla="*/ 1431099 w 4269063"/>
                <a:gd name="connsiteY34" fmla="*/ 579192 h 1450763"/>
                <a:gd name="connsiteX35" fmla="*/ 2141743 w 4269063"/>
                <a:gd name="connsiteY35" fmla="*/ 0 h 1450763"/>
                <a:gd name="connsiteX36" fmla="*/ 2867124 w 4269063"/>
                <a:gd name="connsiteY36" fmla="*/ 725381 h 1450763"/>
                <a:gd name="connsiteX37" fmla="*/ 2867113 w 4269063"/>
                <a:gd name="connsiteY37" fmla="*/ 725606 h 1450763"/>
                <a:gd name="connsiteX38" fmla="*/ 2866192 w 4269063"/>
                <a:gd name="connsiteY38" fmla="*/ 725606 h 1450763"/>
                <a:gd name="connsiteX39" fmla="*/ 2866169 w 4269063"/>
                <a:gd name="connsiteY39" fmla="*/ 725381 h 1450763"/>
                <a:gd name="connsiteX40" fmla="*/ 2866192 w 4269063"/>
                <a:gd name="connsiteY40" fmla="*/ 725156 h 1450763"/>
                <a:gd name="connsiteX41" fmla="*/ 2819233 w 4269063"/>
                <a:gd name="connsiteY41" fmla="*/ 725156 h 1450763"/>
                <a:gd name="connsiteX42" fmla="*/ 2805491 w 4269063"/>
                <a:gd name="connsiteY42" fmla="*/ 588839 h 1450763"/>
                <a:gd name="connsiteX43" fmla="*/ 2141743 w 4269063"/>
                <a:gd name="connsiteY43" fmla="*/ 47868 h 1450763"/>
                <a:gd name="connsiteX44" fmla="*/ 1464230 w 4269063"/>
                <a:gd name="connsiteY44" fmla="*/ 725381 h 1450763"/>
                <a:gd name="connsiteX45" fmla="*/ 1464253 w 4269063"/>
                <a:gd name="connsiteY45" fmla="*/ 725606 h 1450763"/>
                <a:gd name="connsiteX46" fmla="*/ 1463548 w 4269063"/>
                <a:gd name="connsiteY46" fmla="*/ 725606 h 1450763"/>
                <a:gd name="connsiteX47" fmla="*/ 1448834 w 4269063"/>
                <a:gd name="connsiteY47" fmla="*/ 871572 h 1450763"/>
                <a:gd name="connsiteX48" fmla="*/ 738190 w 4269063"/>
                <a:gd name="connsiteY48" fmla="*/ 1450763 h 1450763"/>
                <a:gd name="connsiteX0" fmla="*/ 48812 w 4256255"/>
                <a:gd name="connsiteY0" fmla="*/ 725607 h 1450763"/>
                <a:gd name="connsiteX1" fmla="*/ 47892 w 4256255"/>
                <a:gd name="connsiteY1" fmla="*/ 725607 h 1450763"/>
                <a:gd name="connsiteX2" fmla="*/ 47868 w 4256255"/>
                <a:gd name="connsiteY2" fmla="*/ 725382 h 1450763"/>
                <a:gd name="connsiteX3" fmla="*/ 47892 w 4256255"/>
                <a:gd name="connsiteY3" fmla="*/ 725157 h 1450763"/>
                <a:gd name="connsiteX4" fmla="*/ 932 w 4256255"/>
                <a:gd name="connsiteY4" fmla="*/ 725157 h 1450763"/>
                <a:gd name="connsiteX5" fmla="*/ 48824 w 4256255"/>
                <a:gd name="connsiteY5" fmla="*/ 725382 h 1450763"/>
                <a:gd name="connsiteX6" fmla="*/ 48812 w 4256255"/>
                <a:gd name="connsiteY6" fmla="*/ 725607 h 1450763"/>
                <a:gd name="connsiteX7" fmla="*/ 3530874 w 4256255"/>
                <a:gd name="connsiteY7" fmla="*/ 1450762 h 1450763"/>
                <a:gd name="connsiteX8" fmla="*/ 2805493 w 4256255"/>
                <a:gd name="connsiteY8" fmla="*/ 725381 h 1450763"/>
                <a:gd name="connsiteX9" fmla="*/ 2805504 w 4256255"/>
                <a:gd name="connsiteY9" fmla="*/ 725156 h 1450763"/>
                <a:gd name="connsiteX10" fmla="*/ 2806425 w 4256255"/>
                <a:gd name="connsiteY10" fmla="*/ 725156 h 1450763"/>
                <a:gd name="connsiteX11" fmla="*/ 2806448 w 4256255"/>
                <a:gd name="connsiteY11" fmla="*/ 725381 h 1450763"/>
                <a:gd name="connsiteX12" fmla="*/ 2806425 w 4256255"/>
                <a:gd name="connsiteY12" fmla="*/ 725606 h 1450763"/>
                <a:gd name="connsiteX13" fmla="*/ 2853384 w 4256255"/>
                <a:gd name="connsiteY13" fmla="*/ 725606 h 1450763"/>
                <a:gd name="connsiteX14" fmla="*/ 2867126 w 4256255"/>
                <a:gd name="connsiteY14" fmla="*/ 861924 h 1450763"/>
                <a:gd name="connsiteX15" fmla="*/ 3530874 w 4256255"/>
                <a:gd name="connsiteY15" fmla="*/ 1402894 h 1450763"/>
                <a:gd name="connsiteX16" fmla="*/ 4208387 w 4256255"/>
                <a:gd name="connsiteY16" fmla="*/ 725381 h 1450763"/>
                <a:gd name="connsiteX17" fmla="*/ 4208364 w 4256255"/>
                <a:gd name="connsiteY17" fmla="*/ 725156 h 1450763"/>
                <a:gd name="connsiteX18" fmla="*/ 4256244 w 4256255"/>
                <a:gd name="connsiteY18" fmla="*/ 725156 h 1450763"/>
                <a:gd name="connsiteX19" fmla="*/ 4256255 w 4256255"/>
                <a:gd name="connsiteY19" fmla="*/ 725381 h 1450763"/>
                <a:gd name="connsiteX20" fmla="*/ 3530874 w 4256255"/>
                <a:gd name="connsiteY20" fmla="*/ 1450762 h 1450763"/>
                <a:gd name="connsiteX21" fmla="*/ 725382 w 4256255"/>
                <a:gd name="connsiteY21" fmla="*/ 1450763 h 1450763"/>
                <a:gd name="connsiteX22" fmla="*/ 0 w 4256255"/>
                <a:gd name="connsiteY22" fmla="*/ 725382 h 1450763"/>
                <a:gd name="connsiteX23" fmla="*/ 12 w 4256255"/>
                <a:gd name="connsiteY23" fmla="*/ 725157 h 1450763"/>
                <a:gd name="connsiteX24" fmla="*/ 932 w 4256255"/>
                <a:gd name="connsiteY24" fmla="*/ 725157 h 1450763"/>
                <a:gd name="connsiteX25" fmla="*/ 956 w 4256255"/>
                <a:gd name="connsiteY25" fmla="*/ 725382 h 1450763"/>
                <a:gd name="connsiteX26" fmla="*/ 932 w 4256255"/>
                <a:gd name="connsiteY26" fmla="*/ 725607 h 1450763"/>
                <a:gd name="connsiteX27" fmla="*/ 47892 w 4256255"/>
                <a:gd name="connsiteY27" fmla="*/ 725607 h 1450763"/>
                <a:gd name="connsiteX28" fmla="*/ 61634 w 4256255"/>
                <a:gd name="connsiteY28" fmla="*/ 861925 h 1450763"/>
                <a:gd name="connsiteX29" fmla="*/ 725382 w 4256255"/>
                <a:gd name="connsiteY29" fmla="*/ 1402895 h 1450763"/>
                <a:gd name="connsiteX30" fmla="*/ 1402895 w 4256255"/>
                <a:gd name="connsiteY30" fmla="*/ 725382 h 1450763"/>
                <a:gd name="connsiteX31" fmla="*/ 1402872 w 4256255"/>
                <a:gd name="connsiteY31" fmla="*/ 725157 h 1450763"/>
                <a:gd name="connsiteX32" fmla="*/ 1403577 w 4256255"/>
                <a:gd name="connsiteY32" fmla="*/ 725157 h 1450763"/>
                <a:gd name="connsiteX33" fmla="*/ 1418291 w 4256255"/>
                <a:gd name="connsiteY33" fmla="*/ 579192 h 1450763"/>
                <a:gd name="connsiteX34" fmla="*/ 2128935 w 4256255"/>
                <a:gd name="connsiteY34" fmla="*/ 0 h 1450763"/>
                <a:gd name="connsiteX35" fmla="*/ 2854316 w 4256255"/>
                <a:gd name="connsiteY35" fmla="*/ 725381 h 1450763"/>
                <a:gd name="connsiteX36" fmla="*/ 2854305 w 4256255"/>
                <a:gd name="connsiteY36" fmla="*/ 725606 h 1450763"/>
                <a:gd name="connsiteX37" fmla="*/ 2853384 w 4256255"/>
                <a:gd name="connsiteY37" fmla="*/ 725606 h 1450763"/>
                <a:gd name="connsiteX38" fmla="*/ 2853361 w 4256255"/>
                <a:gd name="connsiteY38" fmla="*/ 725381 h 1450763"/>
                <a:gd name="connsiteX39" fmla="*/ 2853384 w 4256255"/>
                <a:gd name="connsiteY39" fmla="*/ 725156 h 1450763"/>
                <a:gd name="connsiteX40" fmla="*/ 2806425 w 4256255"/>
                <a:gd name="connsiteY40" fmla="*/ 725156 h 1450763"/>
                <a:gd name="connsiteX41" fmla="*/ 2792683 w 4256255"/>
                <a:gd name="connsiteY41" fmla="*/ 588839 h 1450763"/>
                <a:gd name="connsiteX42" fmla="*/ 2128935 w 4256255"/>
                <a:gd name="connsiteY42" fmla="*/ 47868 h 1450763"/>
                <a:gd name="connsiteX43" fmla="*/ 1451422 w 4256255"/>
                <a:gd name="connsiteY43" fmla="*/ 725381 h 1450763"/>
                <a:gd name="connsiteX44" fmla="*/ 1451445 w 4256255"/>
                <a:gd name="connsiteY44" fmla="*/ 725606 h 1450763"/>
                <a:gd name="connsiteX45" fmla="*/ 1450740 w 4256255"/>
                <a:gd name="connsiteY45" fmla="*/ 725606 h 1450763"/>
                <a:gd name="connsiteX46" fmla="*/ 1436026 w 4256255"/>
                <a:gd name="connsiteY46" fmla="*/ 871572 h 1450763"/>
                <a:gd name="connsiteX47" fmla="*/ 725382 w 4256255"/>
                <a:gd name="connsiteY47"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56255" h="1450763">
                  <a:moveTo>
                    <a:pt x="48812" y="725607"/>
                  </a:moveTo>
                  <a:lnTo>
                    <a:pt x="47892" y="725607"/>
                  </a:lnTo>
                  <a:lnTo>
                    <a:pt x="47868" y="725382"/>
                  </a:lnTo>
                  <a:lnTo>
                    <a:pt x="47892" y="725157"/>
                  </a:lnTo>
                  <a:lnTo>
                    <a:pt x="932" y="725157"/>
                  </a:lnTo>
                  <a:lnTo>
                    <a:pt x="48824" y="725382"/>
                  </a:lnTo>
                  <a:lnTo>
                    <a:pt x="48812" y="725607"/>
                  </a:lnTo>
                  <a:close/>
                  <a:moveTo>
                    <a:pt x="3530874" y="1450762"/>
                  </a:moveTo>
                  <a:cubicBezTo>
                    <a:pt x="3130257" y="1450762"/>
                    <a:pt x="2805493" y="1125998"/>
                    <a:pt x="2805493" y="725381"/>
                  </a:cubicBezTo>
                  <a:cubicBezTo>
                    <a:pt x="2805497" y="725306"/>
                    <a:pt x="2805500" y="725231"/>
                    <a:pt x="2805504" y="725156"/>
                  </a:cubicBezTo>
                  <a:lnTo>
                    <a:pt x="2806425" y="725156"/>
                  </a:lnTo>
                  <a:cubicBezTo>
                    <a:pt x="2806433" y="725231"/>
                    <a:pt x="2806440" y="725306"/>
                    <a:pt x="2806448" y="725381"/>
                  </a:cubicBezTo>
                  <a:cubicBezTo>
                    <a:pt x="2806440" y="725456"/>
                    <a:pt x="2806433" y="725531"/>
                    <a:pt x="2806425" y="725606"/>
                  </a:cubicBezTo>
                  <a:lnTo>
                    <a:pt x="2853384" y="725606"/>
                  </a:lnTo>
                  <a:lnTo>
                    <a:pt x="2867126" y="861924"/>
                  </a:lnTo>
                  <a:cubicBezTo>
                    <a:pt x="2930301" y="1170655"/>
                    <a:pt x="3203466" y="1402894"/>
                    <a:pt x="3530874" y="1402894"/>
                  </a:cubicBezTo>
                  <a:cubicBezTo>
                    <a:pt x="3905054" y="1402894"/>
                    <a:pt x="4208387" y="1099561"/>
                    <a:pt x="4208387" y="725381"/>
                  </a:cubicBezTo>
                  <a:cubicBezTo>
                    <a:pt x="4208379" y="725306"/>
                    <a:pt x="4208372" y="725231"/>
                    <a:pt x="4208364" y="725156"/>
                  </a:cubicBezTo>
                  <a:lnTo>
                    <a:pt x="4256244" y="725156"/>
                  </a:lnTo>
                  <a:cubicBezTo>
                    <a:pt x="4256248" y="725231"/>
                    <a:pt x="4256251" y="725306"/>
                    <a:pt x="4256255" y="725381"/>
                  </a:cubicBezTo>
                  <a:cubicBezTo>
                    <a:pt x="4256255" y="1125998"/>
                    <a:pt x="3931491" y="1450762"/>
                    <a:pt x="3530874" y="1450762"/>
                  </a:cubicBezTo>
                  <a:close/>
                  <a:moveTo>
                    <a:pt x="725382" y="1450763"/>
                  </a:moveTo>
                  <a:cubicBezTo>
                    <a:pt x="324765" y="1450763"/>
                    <a:pt x="0" y="1125999"/>
                    <a:pt x="0" y="725382"/>
                  </a:cubicBezTo>
                  <a:lnTo>
                    <a:pt x="12" y="725157"/>
                  </a:lnTo>
                  <a:lnTo>
                    <a:pt x="932" y="725157"/>
                  </a:lnTo>
                  <a:lnTo>
                    <a:pt x="956" y="725382"/>
                  </a:lnTo>
                  <a:lnTo>
                    <a:pt x="932" y="725607"/>
                  </a:lnTo>
                  <a:lnTo>
                    <a:pt x="47892" y="725607"/>
                  </a:lnTo>
                  <a:lnTo>
                    <a:pt x="61634" y="861925"/>
                  </a:lnTo>
                  <a:cubicBezTo>
                    <a:pt x="124808" y="1170656"/>
                    <a:pt x="397974" y="1402895"/>
                    <a:pt x="725382" y="1402895"/>
                  </a:cubicBezTo>
                  <a:cubicBezTo>
                    <a:pt x="1099562" y="1402895"/>
                    <a:pt x="1402895" y="1099562"/>
                    <a:pt x="1402895" y="725382"/>
                  </a:cubicBezTo>
                  <a:cubicBezTo>
                    <a:pt x="1402887" y="725307"/>
                    <a:pt x="1402880" y="725232"/>
                    <a:pt x="1402872" y="725157"/>
                  </a:cubicBezTo>
                  <a:lnTo>
                    <a:pt x="1403577" y="725157"/>
                  </a:lnTo>
                  <a:lnTo>
                    <a:pt x="1418291" y="579192"/>
                  </a:lnTo>
                  <a:cubicBezTo>
                    <a:pt x="1485930" y="248648"/>
                    <a:pt x="1778395" y="0"/>
                    <a:pt x="2128935" y="0"/>
                  </a:cubicBezTo>
                  <a:cubicBezTo>
                    <a:pt x="2529552" y="0"/>
                    <a:pt x="2854316" y="324764"/>
                    <a:pt x="2854316" y="725381"/>
                  </a:cubicBezTo>
                  <a:cubicBezTo>
                    <a:pt x="2854312" y="725456"/>
                    <a:pt x="2854309" y="725531"/>
                    <a:pt x="2854305" y="725606"/>
                  </a:cubicBezTo>
                  <a:lnTo>
                    <a:pt x="2853384" y="725606"/>
                  </a:lnTo>
                  <a:cubicBezTo>
                    <a:pt x="2853376" y="725531"/>
                    <a:pt x="2853369" y="725456"/>
                    <a:pt x="2853361" y="725381"/>
                  </a:cubicBezTo>
                  <a:cubicBezTo>
                    <a:pt x="2853369" y="725306"/>
                    <a:pt x="2853376" y="725231"/>
                    <a:pt x="2853384" y="725156"/>
                  </a:cubicBezTo>
                  <a:lnTo>
                    <a:pt x="2806425" y="725156"/>
                  </a:lnTo>
                  <a:lnTo>
                    <a:pt x="2792683" y="588839"/>
                  </a:lnTo>
                  <a:cubicBezTo>
                    <a:pt x="2729508" y="280107"/>
                    <a:pt x="2456343" y="47868"/>
                    <a:pt x="2128935" y="47868"/>
                  </a:cubicBezTo>
                  <a:cubicBezTo>
                    <a:pt x="1754755" y="47868"/>
                    <a:pt x="1451422" y="351201"/>
                    <a:pt x="1451422" y="725381"/>
                  </a:cubicBezTo>
                  <a:cubicBezTo>
                    <a:pt x="1451430" y="725456"/>
                    <a:pt x="1451437" y="725531"/>
                    <a:pt x="1451445" y="725606"/>
                  </a:cubicBezTo>
                  <a:lnTo>
                    <a:pt x="1450740" y="725606"/>
                  </a:lnTo>
                  <a:lnTo>
                    <a:pt x="1436026" y="871572"/>
                  </a:lnTo>
                  <a:cubicBezTo>
                    <a:pt x="1368387" y="1202116"/>
                    <a:pt x="1075922" y="1450763"/>
                    <a:pt x="725382"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22" name="Oval 21" descr="timeline endpoints">
              <a:extLst>
                <a:ext uri="{FF2B5EF4-FFF2-40B4-BE49-F238E27FC236}">
                  <a16:creationId xmlns:a16="http://schemas.microsoft.com/office/drawing/2014/main" id="{8D2BA49E-8E76-1626-C082-0F0B29E6A6C1}"/>
                </a:ext>
              </a:extLst>
            </p:cNvPr>
            <p:cNvSpPr/>
            <p:nvPr userDrawn="1"/>
          </p:nvSpPr>
          <p:spPr>
            <a:xfrm>
              <a:off x="886310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descr="timeline endpoints">
              <a:extLst>
                <a:ext uri="{FF2B5EF4-FFF2-40B4-BE49-F238E27FC236}">
                  <a16:creationId xmlns:a16="http://schemas.microsoft.com/office/drawing/2014/main" id="{870CE816-FC7D-CDF1-F5DD-D83DDC380C90}"/>
                </a:ext>
              </a:extLst>
            </p:cNvPr>
            <p:cNvSpPr/>
            <p:nvPr userDrawn="1"/>
          </p:nvSpPr>
          <p:spPr>
            <a:xfrm>
              <a:off x="8863102" y="489633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sp>
        <p:nvSpPr>
          <p:cNvPr id="24" name="Text Placeholder 17">
            <a:extLst>
              <a:ext uri="{FF2B5EF4-FFF2-40B4-BE49-F238E27FC236}">
                <a16:creationId xmlns:a16="http://schemas.microsoft.com/office/drawing/2014/main" id="{FF44018C-13EE-748B-B820-E02F62C1B2B1}"/>
              </a:ext>
            </a:extLst>
          </p:cNvPr>
          <p:cNvSpPr>
            <a:spLocks noGrp="1"/>
          </p:cNvSpPr>
          <p:nvPr>
            <p:ph type="body" sz="quarter" idx="46" hasCustomPrompt="1"/>
          </p:nvPr>
        </p:nvSpPr>
        <p:spPr>
          <a:xfrm>
            <a:off x="460778"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a:t>
            </a:r>
          </a:p>
        </p:txBody>
      </p:sp>
      <p:sp>
        <p:nvSpPr>
          <p:cNvPr id="25" name="Text Placeholder 17">
            <a:extLst>
              <a:ext uri="{FF2B5EF4-FFF2-40B4-BE49-F238E27FC236}">
                <a16:creationId xmlns:a16="http://schemas.microsoft.com/office/drawing/2014/main" id="{BAF4CB08-A110-AEA1-5307-2871FEE2CA1A}"/>
              </a:ext>
            </a:extLst>
          </p:cNvPr>
          <p:cNvSpPr>
            <a:spLocks noGrp="1"/>
          </p:cNvSpPr>
          <p:nvPr>
            <p:ph type="body" sz="quarter" idx="47" hasCustomPrompt="1"/>
          </p:nvPr>
        </p:nvSpPr>
        <p:spPr>
          <a:xfrm>
            <a:off x="460778"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2</a:t>
            </a:r>
          </a:p>
        </p:txBody>
      </p:sp>
      <p:sp>
        <p:nvSpPr>
          <p:cNvPr id="26" name="Text Placeholder 17">
            <a:extLst>
              <a:ext uri="{FF2B5EF4-FFF2-40B4-BE49-F238E27FC236}">
                <a16:creationId xmlns:a16="http://schemas.microsoft.com/office/drawing/2014/main" id="{A9174361-1319-57DB-45D4-13BE0DB18271}"/>
              </a:ext>
            </a:extLst>
          </p:cNvPr>
          <p:cNvSpPr>
            <a:spLocks noGrp="1"/>
          </p:cNvSpPr>
          <p:nvPr>
            <p:ph type="body" sz="quarter" idx="48" hasCustomPrompt="1"/>
          </p:nvPr>
        </p:nvSpPr>
        <p:spPr>
          <a:xfrm>
            <a:off x="460778"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3</a:t>
            </a:r>
          </a:p>
        </p:txBody>
      </p:sp>
      <p:sp>
        <p:nvSpPr>
          <p:cNvPr id="27" name="Text Placeholder 17">
            <a:extLst>
              <a:ext uri="{FF2B5EF4-FFF2-40B4-BE49-F238E27FC236}">
                <a16:creationId xmlns:a16="http://schemas.microsoft.com/office/drawing/2014/main" id="{C5889C5B-72CA-D335-92AD-FCB9FEDAB85C}"/>
              </a:ext>
            </a:extLst>
          </p:cNvPr>
          <p:cNvSpPr>
            <a:spLocks noGrp="1"/>
          </p:cNvSpPr>
          <p:nvPr>
            <p:ph type="body" sz="quarter" idx="49" hasCustomPrompt="1"/>
          </p:nvPr>
        </p:nvSpPr>
        <p:spPr>
          <a:xfrm>
            <a:off x="460778"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4</a:t>
            </a:r>
          </a:p>
        </p:txBody>
      </p:sp>
      <p:sp>
        <p:nvSpPr>
          <p:cNvPr id="49" name="Text Placeholder 48">
            <a:extLst>
              <a:ext uri="{FF2B5EF4-FFF2-40B4-BE49-F238E27FC236}">
                <a16:creationId xmlns:a16="http://schemas.microsoft.com/office/drawing/2014/main" id="{14742123-85C4-4775-80AC-721BD7C16285}"/>
              </a:ext>
            </a:extLst>
          </p:cNvPr>
          <p:cNvSpPr>
            <a:spLocks noGrp="1"/>
          </p:cNvSpPr>
          <p:nvPr>
            <p:ph type="body" sz="quarter" idx="10" hasCustomPrompt="1"/>
          </p:nvPr>
        </p:nvSpPr>
        <p:spPr>
          <a:xfrm>
            <a:off x="1623260"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6" name="Text Placeholder 48">
            <a:extLst>
              <a:ext uri="{FF2B5EF4-FFF2-40B4-BE49-F238E27FC236}">
                <a16:creationId xmlns:a16="http://schemas.microsoft.com/office/drawing/2014/main" id="{F6AF03D4-E441-4447-876C-A1B030223E2D}"/>
              </a:ext>
            </a:extLst>
          </p:cNvPr>
          <p:cNvSpPr>
            <a:spLocks noGrp="1"/>
          </p:cNvSpPr>
          <p:nvPr>
            <p:ph type="body" sz="quarter" idx="16" hasCustomPrompt="1"/>
          </p:nvPr>
        </p:nvSpPr>
        <p:spPr>
          <a:xfrm>
            <a:off x="1623260"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2" name="Text Placeholder 48">
            <a:extLst>
              <a:ext uri="{FF2B5EF4-FFF2-40B4-BE49-F238E27FC236}">
                <a16:creationId xmlns:a16="http://schemas.microsoft.com/office/drawing/2014/main" id="{563D0C18-5125-4D0F-B46D-76AE182B3FA2}"/>
              </a:ext>
            </a:extLst>
          </p:cNvPr>
          <p:cNvSpPr>
            <a:spLocks noGrp="1"/>
          </p:cNvSpPr>
          <p:nvPr>
            <p:ph type="body" sz="quarter" idx="22" hasCustomPrompt="1"/>
          </p:nvPr>
        </p:nvSpPr>
        <p:spPr>
          <a:xfrm>
            <a:off x="1623260"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8" name="Text Placeholder 48">
            <a:extLst>
              <a:ext uri="{FF2B5EF4-FFF2-40B4-BE49-F238E27FC236}">
                <a16:creationId xmlns:a16="http://schemas.microsoft.com/office/drawing/2014/main" id="{120E072F-4FF5-422F-B7FD-BE3DF026010F}"/>
              </a:ext>
            </a:extLst>
          </p:cNvPr>
          <p:cNvSpPr>
            <a:spLocks noGrp="1"/>
          </p:cNvSpPr>
          <p:nvPr>
            <p:ph type="body" sz="quarter" idx="28" hasCustomPrompt="1"/>
          </p:nvPr>
        </p:nvSpPr>
        <p:spPr>
          <a:xfrm>
            <a:off x="1623260"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28" name="Text Placeholder 17">
            <a:extLst>
              <a:ext uri="{FF2B5EF4-FFF2-40B4-BE49-F238E27FC236}">
                <a16:creationId xmlns:a16="http://schemas.microsoft.com/office/drawing/2014/main" id="{D7DE5D79-599D-DFB8-ABE9-922A0E8FCF90}"/>
              </a:ext>
            </a:extLst>
          </p:cNvPr>
          <p:cNvSpPr>
            <a:spLocks noGrp="1"/>
          </p:cNvSpPr>
          <p:nvPr>
            <p:ph type="body" sz="quarter" idx="50" hasCustomPrompt="1"/>
          </p:nvPr>
        </p:nvSpPr>
        <p:spPr>
          <a:xfrm>
            <a:off x="4223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5</a:t>
            </a:r>
          </a:p>
        </p:txBody>
      </p:sp>
      <p:sp>
        <p:nvSpPr>
          <p:cNvPr id="29" name="Text Placeholder 17">
            <a:extLst>
              <a:ext uri="{FF2B5EF4-FFF2-40B4-BE49-F238E27FC236}">
                <a16:creationId xmlns:a16="http://schemas.microsoft.com/office/drawing/2014/main" id="{C3CA893D-4ACF-DFF1-9805-37620DBE00F6}"/>
              </a:ext>
            </a:extLst>
          </p:cNvPr>
          <p:cNvSpPr>
            <a:spLocks noGrp="1"/>
          </p:cNvSpPr>
          <p:nvPr>
            <p:ph type="body" sz="quarter" idx="51" hasCustomPrompt="1"/>
          </p:nvPr>
        </p:nvSpPr>
        <p:spPr>
          <a:xfrm>
            <a:off x="4223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6</a:t>
            </a:r>
          </a:p>
        </p:txBody>
      </p:sp>
      <p:sp>
        <p:nvSpPr>
          <p:cNvPr id="30" name="Text Placeholder 17">
            <a:extLst>
              <a:ext uri="{FF2B5EF4-FFF2-40B4-BE49-F238E27FC236}">
                <a16:creationId xmlns:a16="http://schemas.microsoft.com/office/drawing/2014/main" id="{1547E96D-DC67-55BA-2A08-4A74F1C63C27}"/>
              </a:ext>
            </a:extLst>
          </p:cNvPr>
          <p:cNvSpPr>
            <a:spLocks noGrp="1"/>
          </p:cNvSpPr>
          <p:nvPr>
            <p:ph type="body" sz="quarter" idx="52" hasCustomPrompt="1"/>
          </p:nvPr>
        </p:nvSpPr>
        <p:spPr>
          <a:xfrm>
            <a:off x="4223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7</a:t>
            </a:r>
          </a:p>
        </p:txBody>
      </p:sp>
      <p:sp>
        <p:nvSpPr>
          <p:cNvPr id="31" name="Text Placeholder 17">
            <a:extLst>
              <a:ext uri="{FF2B5EF4-FFF2-40B4-BE49-F238E27FC236}">
                <a16:creationId xmlns:a16="http://schemas.microsoft.com/office/drawing/2014/main" id="{FA1E7B28-3ADC-1890-14E4-6F9A13C95C0F}"/>
              </a:ext>
            </a:extLst>
          </p:cNvPr>
          <p:cNvSpPr>
            <a:spLocks noGrp="1"/>
          </p:cNvSpPr>
          <p:nvPr>
            <p:ph type="body" sz="quarter" idx="53" hasCustomPrompt="1"/>
          </p:nvPr>
        </p:nvSpPr>
        <p:spPr>
          <a:xfrm>
            <a:off x="4223834"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8</a:t>
            </a:r>
          </a:p>
        </p:txBody>
      </p:sp>
      <p:sp>
        <p:nvSpPr>
          <p:cNvPr id="52" name="Text Placeholder 48">
            <a:extLst>
              <a:ext uri="{FF2B5EF4-FFF2-40B4-BE49-F238E27FC236}">
                <a16:creationId xmlns:a16="http://schemas.microsoft.com/office/drawing/2014/main" id="{2B649793-2AFC-43EE-8172-0EAB326F1130}"/>
              </a:ext>
            </a:extLst>
          </p:cNvPr>
          <p:cNvSpPr>
            <a:spLocks noGrp="1"/>
          </p:cNvSpPr>
          <p:nvPr>
            <p:ph type="body" sz="quarter" idx="12" hasCustomPrompt="1"/>
          </p:nvPr>
        </p:nvSpPr>
        <p:spPr>
          <a:xfrm>
            <a:off x="534748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8" name="Text Placeholder 48">
            <a:extLst>
              <a:ext uri="{FF2B5EF4-FFF2-40B4-BE49-F238E27FC236}">
                <a16:creationId xmlns:a16="http://schemas.microsoft.com/office/drawing/2014/main" id="{5B64A0D9-EA5C-4EC1-981A-0FD223A62FB0}"/>
              </a:ext>
            </a:extLst>
          </p:cNvPr>
          <p:cNvSpPr>
            <a:spLocks noGrp="1"/>
          </p:cNvSpPr>
          <p:nvPr>
            <p:ph type="body" sz="quarter" idx="18" hasCustomPrompt="1"/>
          </p:nvPr>
        </p:nvSpPr>
        <p:spPr>
          <a:xfrm>
            <a:off x="534748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4" name="Text Placeholder 48">
            <a:extLst>
              <a:ext uri="{FF2B5EF4-FFF2-40B4-BE49-F238E27FC236}">
                <a16:creationId xmlns:a16="http://schemas.microsoft.com/office/drawing/2014/main" id="{54844B85-1B28-4340-AA8C-10A0C2A36C9E}"/>
              </a:ext>
            </a:extLst>
          </p:cNvPr>
          <p:cNvSpPr>
            <a:spLocks noGrp="1"/>
          </p:cNvSpPr>
          <p:nvPr>
            <p:ph type="body" sz="quarter" idx="24" hasCustomPrompt="1"/>
          </p:nvPr>
        </p:nvSpPr>
        <p:spPr>
          <a:xfrm>
            <a:off x="534748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70" name="Text Placeholder 48">
            <a:extLst>
              <a:ext uri="{FF2B5EF4-FFF2-40B4-BE49-F238E27FC236}">
                <a16:creationId xmlns:a16="http://schemas.microsoft.com/office/drawing/2014/main" id="{C9938F8E-67A2-401C-882C-ED04C7E5224B}"/>
              </a:ext>
            </a:extLst>
          </p:cNvPr>
          <p:cNvSpPr>
            <a:spLocks noGrp="1"/>
          </p:cNvSpPr>
          <p:nvPr>
            <p:ph type="body" sz="quarter" idx="30" hasCustomPrompt="1"/>
          </p:nvPr>
        </p:nvSpPr>
        <p:spPr>
          <a:xfrm>
            <a:off x="5347487"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32" name="Text Placeholder 17">
            <a:extLst>
              <a:ext uri="{FF2B5EF4-FFF2-40B4-BE49-F238E27FC236}">
                <a16:creationId xmlns:a16="http://schemas.microsoft.com/office/drawing/2014/main" id="{B373CF34-717A-BA57-91E4-2577FD317FEE}"/>
              </a:ext>
            </a:extLst>
          </p:cNvPr>
          <p:cNvSpPr>
            <a:spLocks noGrp="1"/>
          </p:cNvSpPr>
          <p:nvPr>
            <p:ph type="body" sz="quarter" idx="54" hasCustomPrompt="1"/>
          </p:nvPr>
        </p:nvSpPr>
        <p:spPr>
          <a:xfrm>
            <a:off x="7838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9</a:t>
            </a:r>
          </a:p>
        </p:txBody>
      </p:sp>
      <p:sp>
        <p:nvSpPr>
          <p:cNvPr id="33" name="Text Placeholder 17">
            <a:extLst>
              <a:ext uri="{FF2B5EF4-FFF2-40B4-BE49-F238E27FC236}">
                <a16:creationId xmlns:a16="http://schemas.microsoft.com/office/drawing/2014/main" id="{411A0259-BEF2-E04F-DD42-1C1A80D357D4}"/>
              </a:ext>
            </a:extLst>
          </p:cNvPr>
          <p:cNvSpPr>
            <a:spLocks noGrp="1"/>
          </p:cNvSpPr>
          <p:nvPr>
            <p:ph type="body" sz="quarter" idx="55" hasCustomPrompt="1"/>
          </p:nvPr>
        </p:nvSpPr>
        <p:spPr>
          <a:xfrm>
            <a:off x="7838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0</a:t>
            </a:r>
          </a:p>
        </p:txBody>
      </p:sp>
      <p:sp>
        <p:nvSpPr>
          <p:cNvPr id="34" name="Text Placeholder 17">
            <a:extLst>
              <a:ext uri="{FF2B5EF4-FFF2-40B4-BE49-F238E27FC236}">
                <a16:creationId xmlns:a16="http://schemas.microsoft.com/office/drawing/2014/main" id="{44B6D202-4D05-9FD2-4B6F-3D8B92934EE5}"/>
              </a:ext>
            </a:extLst>
          </p:cNvPr>
          <p:cNvSpPr>
            <a:spLocks noGrp="1"/>
          </p:cNvSpPr>
          <p:nvPr>
            <p:ph type="body" sz="quarter" idx="56" hasCustomPrompt="1"/>
          </p:nvPr>
        </p:nvSpPr>
        <p:spPr>
          <a:xfrm>
            <a:off x="7838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1</a:t>
            </a:r>
          </a:p>
        </p:txBody>
      </p:sp>
      <p:sp>
        <p:nvSpPr>
          <p:cNvPr id="54" name="Text Placeholder 48">
            <a:extLst>
              <a:ext uri="{FF2B5EF4-FFF2-40B4-BE49-F238E27FC236}">
                <a16:creationId xmlns:a16="http://schemas.microsoft.com/office/drawing/2014/main" id="{58782C77-F426-4586-AF09-D07E1E8737F4}"/>
              </a:ext>
            </a:extLst>
          </p:cNvPr>
          <p:cNvSpPr>
            <a:spLocks noGrp="1"/>
          </p:cNvSpPr>
          <p:nvPr>
            <p:ph type="body" sz="quarter" idx="14" hasCustomPrompt="1"/>
          </p:nvPr>
        </p:nvSpPr>
        <p:spPr>
          <a:xfrm>
            <a:off x="901181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0" name="Text Placeholder 48">
            <a:extLst>
              <a:ext uri="{FF2B5EF4-FFF2-40B4-BE49-F238E27FC236}">
                <a16:creationId xmlns:a16="http://schemas.microsoft.com/office/drawing/2014/main" id="{82EA5B58-66CC-4197-BAC3-D0A39558DB0F}"/>
              </a:ext>
            </a:extLst>
          </p:cNvPr>
          <p:cNvSpPr>
            <a:spLocks noGrp="1"/>
          </p:cNvSpPr>
          <p:nvPr>
            <p:ph type="body" sz="quarter" idx="20" hasCustomPrompt="1"/>
          </p:nvPr>
        </p:nvSpPr>
        <p:spPr>
          <a:xfrm>
            <a:off x="901181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6" name="Text Placeholder 48">
            <a:extLst>
              <a:ext uri="{FF2B5EF4-FFF2-40B4-BE49-F238E27FC236}">
                <a16:creationId xmlns:a16="http://schemas.microsoft.com/office/drawing/2014/main" id="{D4D4EE7B-E029-47B3-BC18-D53E810711CE}"/>
              </a:ext>
            </a:extLst>
          </p:cNvPr>
          <p:cNvSpPr>
            <a:spLocks noGrp="1"/>
          </p:cNvSpPr>
          <p:nvPr>
            <p:ph type="body" sz="quarter" idx="26" hasCustomPrompt="1"/>
          </p:nvPr>
        </p:nvSpPr>
        <p:spPr>
          <a:xfrm>
            <a:off x="901181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Tree>
    <p:extLst>
      <p:ext uri="{BB962C8B-B14F-4D97-AF65-F5344CB8AC3E}">
        <p14:creationId xmlns:p14="http://schemas.microsoft.com/office/powerpoint/2010/main" val="798470830"/>
      </p:ext>
    </p:extLst>
  </p:cSld>
  <p:clrMapOvr>
    <a:masterClrMapping/>
  </p:clrMapOvr>
  <p:extLst>
    <p:ext uri="{DCECCB84-F9BA-43D5-87BE-67443E8EF086}">
      <p15:sldGuideLst xmlns:p15="http://schemas.microsoft.com/office/powerpoint/2012/main">
        <p15:guide id="1" pos="2544">
          <p15:clr>
            <a:srgbClr val="FBAE40"/>
          </p15:clr>
        </p15:guide>
        <p15:guide id="2" pos="5112">
          <p15:clr>
            <a:srgbClr val="FBAE40"/>
          </p15:clr>
        </p15:guide>
        <p15:guide id="4" pos="5256">
          <p15:clr>
            <a:srgbClr val="5ACBF0"/>
          </p15:clr>
        </p15:guide>
        <p15:guide id="5" pos="4968">
          <p15:clr>
            <a:srgbClr val="5ACBF0"/>
          </p15:clr>
        </p15:guide>
        <p15:guide id="6" pos="2688">
          <p15:clr>
            <a:srgbClr val="5ACBF0"/>
          </p15:clr>
        </p15:guide>
        <p15:guide id="7" pos="2400">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B7B0B0-2AD9-766E-223A-F57DBBA78CF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7" name="think-cell data - do not delete" hidden="1">
                        <a:extLst>
                          <a:ext uri="{FF2B5EF4-FFF2-40B4-BE49-F238E27FC236}">
                            <a16:creationId xmlns:a16="http://schemas.microsoft.com/office/drawing/2014/main" id="{13B7B0B0-2AD9-766E-223A-F57DBBA78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72380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3F424-5D8A-4250-EE21-EEBA0D411B0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6543A89-E440-A3CF-D2F9-10A2E0F5AB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C282D94-20E9-F635-1D43-60A1F1CBF375}"/>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287507B3-E7E8-4D18-6F62-396F5708E8E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781A446-BE87-E011-9875-E950EC1E6CEA}"/>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02522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A9F53-1631-77E3-B676-C908A0B678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6ACDBCE3-1D2B-83C5-E912-8DFE68F1847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3D505D-1CA0-EB27-B0DC-97768AA1CBAD}"/>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523E329D-FB1B-D85F-5952-E31ED43E96E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C5518B8-5FD3-EBED-298C-9B66F26BD4C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988372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A199B-2C56-C534-CCDB-8F9D450CCB23}"/>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6665E1E0-B870-0036-E6DF-AE8B0CF8C9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561C86E5-6094-7BB9-4585-34F809F1C8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E9592E67-D3A1-6E01-1156-7758B25F2D10}"/>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6" name="Footer Placeholder 5">
            <a:extLst>
              <a:ext uri="{FF2B5EF4-FFF2-40B4-BE49-F238E27FC236}">
                <a16:creationId xmlns:a16="http://schemas.microsoft.com/office/drawing/2014/main" id="{6F6932E3-52FF-22DA-8FE8-8F230E67AB3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2BFFCB0-CE45-81A5-E46A-CB2BB12DA61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80105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CD4B3-735E-DBDA-FAD2-D62B4B97B04F}"/>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84B29AA-C1FD-55A8-C724-0E4C413236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E4BF03-19EF-644B-2FB5-524381E539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E17175E4-EC78-EECC-F288-5814CAD8CF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55DECE-24D1-8054-A537-C02271804E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8981B680-F002-C4AF-95C3-0B7E484DBD71}"/>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8" name="Footer Placeholder 7">
            <a:extLst>
              <a:ext uri="{FF2B5EF4-FFF2-40B4-BE49-F238E27FC236}">
                <a16:creationId xmlns:a16="http://schemas.microsoft.com/office/drawing/2014/main" id="{E84AF9C7-8627-3508-281A-044618B27A5A}"/>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BEAAAA0-4AE9-BCD4-968B-DF4C7088D54D}"/>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283422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3116C-B1F2-A9A1-656C-D93C69CE1BE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665786E-45E6-C5A0-7DFE-9B00C782CD37}"/>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4" name="Footer Placeholder 3">
            <a:extLst>
              <a:ext uri="{FF2B5EF4-FFF2-40B4-BE49-F238E27FC236}">
                <a16:creationId xmlns:a16="http://schemas.microsoft.com/office/drawing/2014/main" id="{FA7D7FCE-6CF5-8E22-97AC-85A1E8E7375B}"/>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99C9CE4-1A6E-AE6D-8B0C-2E841075EEE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27769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5D95BE-5B59-2AD5-9029-198990729AE9}"/>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3" name="Footer Placeholder 2">
            <a:extLst>
              <a:ext uri="{FF2B5EF4-FFF2-40B4-BE49-F238E27FC236}">
                <a16:creationId xmlns:a16="http://schemas.microsoft.com/office/drawing/2014/main" id="{879EC532-B2F1-D265-E3B6-8B517D771BC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C059CBBA-93A7-0A7D-348B-7FD59BBC8369}"/>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862679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9EBA9-149D-7CE8-75AC-58B598BE83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DFC2F5D-8322-BE1E-9F6C-A66EDC612E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4BE8768-429B-6885-C2F8-0567D1E00A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1B0C92-398F-101A-58AA-6DFE4B44FE76}"/>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6" name="Footer Placeholder 5">
            <a:extLst>
              <a:ext uri="{FF2B5EF4-FFF2-40B4-BE49-F238E27FC236}">
                <a16:creationId xmlns:a16="http://schemas.microsoft.com/office/drawing/2014/main" id="{399A46C5-56D9-EB89-144A-EC81D42E845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118E432-F492-51D7-F4AE-BB9EC70F637E}"/>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59945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93ABE-FD1E-F956-993B-3015362341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CB5FB1E0-B89E-9624-6781-ABCAEC0CC2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8788B504-CEB4-F255-6AA3-CFB2A7BA45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0F1FB3-1B4E-AA39-32FA-03DBCE730BC8}"/>
              </a:ext>
            </a:extLst>
          </p:cNvPr>
          <p:cNvSpPr>
            <a:spLocks noGrp="1"/>
          </p:cNvSpPr>
          <p:nvPr>
            <p:ph type="dt" sz="half" idx="10"/>
          </p:nvPr>
        </p:nvSpPr>
        <p:spPr/>
        <p:txBody>
          <a:bodyPr/>
          <a:lstStyle/>
          <a:p>
            <a:fld id="{C7BD7E54-E585-4B95-B3B7-8C61C3C5DC6A}" type="datetimeFigureOut">
              <a:rPr lang="en-AU" smtClean="0"/>
              <a:t>2024-08-29</a:t>
            </a:fld>
            <a:endParaRPr lang="en-AU"/>
          </a:p>
        </p:txBody>
      </p:sp>
      <p:sp>
        <p:nvSpPr>
          <p:cNvPr id="6" name="Footer Placeholder 5">
            <a:extLst>
              <a:ext uri="{FF2B5EF4-FFF2-40B4-BE49-F238E27FC236}">
                <a16:creationId xmlns:a16="http://schemas.microsoft.com/office/drawing/2014/main" id="{9F65AA19-BBBD-BD70-21D7-6D8E802D1C6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AD5F1C2-C3EC-E7EC-9923-ED4F854BC583}"/>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17053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0B6F48-A0EC-271E-2BD6-68CCE9C00FFC}"/>
              </a:ext>
            </a:extLst>
          </p:cNvPr>
          <p:cNvGraphicFramePr>
            <a:graphicFrameLocks noChangeAspect="1"/>
          </p:cNvGraphicFramePr>
          <p:nvPr userDrawn="1">
            <p:custDataLst>
              <p:tags r:id="rId14"/>
            </p:custDataLst>
            <p:extLst>
              <p:ext uri="{D42A27DB-BD31-4B8C-83A1-F6EECF244321}">
                <p14:modId xmlns:p14="http://schemas.microsoft.com/office/powerpoint/2010/main" val="255893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2" imgH="392" progId="TCLayout.ActiveDocument.1">
                  <p:embed/>
                </p:oleObj>
              </mc:Choice>
              <mc:Fallback>
                <p:oleObj name="think-cell Slide" r:id="rId15" imgW="392" imgH="392" progId="TCLayout.ActiveDocument.1">
                  <p:embed/>
                  <p:pic>
                    <p:nvPicPr>
                      <p:cNvPr id="10" name="think-cell data - do not delete" hidden="1">
                        <a:extLst>
                          <a:ext uri="{FF2B5EF4-FFF2-40B4-BE49-F238E27FC236}">
                            <a16:creationId xmlns:a16="http://schemas.microsoft.com/office/drawing/2014/main" id="{A80B6F48-A0EC-271E-2BD6-68CCE9C00FF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7F0B2B-17D4-6381-5F7D-85E411E72F4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674D169-B780-F071-E4E7-59B7DD094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90DF248-1925-723B-4EBD-293D5924A7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BD7E54-E585-4B95-B3B7-8C61C3C5DC6A}" type="datetimeFigureOut">
              <a:rPr lang="en-AU" smtClean="0"/>
              <a:t>2024-08-29</a:t>
            </a:fld>
            <a:endParaRPr lang="en-AU"/>
          </a:p>
        </p:txBody>
      </p:sp>
      <p:sp>
        <p:nvSpPr>
          <p:cNvPr id="5" name="Footer Placeholder 4">
            <a:extLst>
              <a:ext uri="{FF2B5EF4-FFF2-40B4-BE49-F238E27FC236}">
                <a16:creationId xmlns:a16="http://schemas.microsoft.com/office/drawing/2014/main" id="{6E03E355-E69B-FFDF-4DE9-6195193B31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500CE74D-4F48-DF89-204D-816B40A54A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51E02A7-A04D-4ADE-8BDB-9B60EB9A411E}" type="slidenum">
              <a:rPr lang="en-AU" smtClean="0"/>
              <a:t>‹#›</a:t>
            </a:fld>
            <a:endParaRPr lang="en-AU"/>
          </a:p>
        </p:txBody>
      </p:sp>
      <p:sp>
        <p:nvSpPr>
          <p:cNvPr id="8" name="TextBox 7">
            <a:extLst>
              <a:ext uri="{FF2B5EF4-FFF2-40B4-BE49-F238E27FC236}">
                <a16:creationId xmlns:a16="http://schemas.microsoft.com/office/drawing/2014/main" id="{9082D5D0-F07B-6AC6-00F3-D77DF54CC314}"/>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242577251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7DA26A-BA9F-38EB-30DE-1276C2F4D12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967DA26A-BA9F-38EB-30DE-1276C2F4D1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97ACED-B93B-6590-9ADF-5D9E55B52E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84FD0B-F48C-3304-B88A-E62745DCD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8710B1-F3D5-1D85-C17A-6A25D6BA74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637DA6C-DCEA-41B9-90BF-9890E28A91BB}" type="datetimeFigureOut">
              <a:rPr lang="en-US" smtClean="0"/>
              <a:t>8/29/2024</a:t>
            </a:fld>
            <a:endParaRPr lang="en-US"/>
          </a:p>
        </p:txBody>
      </p:sp>
      <p:sp>
        <p:nvSpPr>
          <p:cNvPr id="5" name="Footer Placeholder 4">
            <a:extLst>
              <a:ext uri="{FF2B5EF4-FFF2-40B4-BE49-F238E27FC236}">
                <a16:creationId xmlns:a16="http://schemas.microsoft.com/office/drawing/2014/main" id="{7160E141-4F30-35E9-F9F9-05D7E9533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EA4E3B-DCA9-AD87-8CFC-1F6599601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0DBCE37-2223-45FE-9B45-243B3156C97D}" type="slidenum">
              <a:rPr lang="en-US" smtClean="0"/>
              <a:t>‹#›</a:t>
            </a:fld>
            <a:endParaRPr lang="en-US"/>
          </a:p>
        </p:txBody>
      </p:sp>
      <p:sp>
        <p:nvSpPr>
          <p:cNvPr id="10" name="TextBox 9">
            <a:extLst>
              <a:ext uri="{FF2B5EF4-FFF2-40B4-BE49-F238E27FC236}">
                <a16:creationId xmlns:a16="http://schemas.microsoft.com/office/drawing/2014/main" id="{B5C8C57F-35AB-D0E1-AFA5-4DAA791DC4DE}"/>
              </a:ext>
            </a:extLst>
          </p:cNvPr>
          <p:cNvSpPr txBox="1"/>
          <p:nvPr>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699277909"/>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image" Target="../media/image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5.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9.bin"/><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fake-vs-fact-predictor.streamlit.app/"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9.xml"/><Relationship Id="rId7" Type="http://schemas.openxmlformats.org/officeDocument/2006/relationships/image" Target="../media/image16.sv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165009-A386-8DC8-05B3-BA2344125D31}"/>
              </a:ext>
            </a:extLst>
          </p:cNvPr>
          <p:cNvGraphicFramePr>
            <a:graphicFrameLocks noChangeAspect="1"/>
          </p:cNvGraphicFramePr>
          <p:nvPr>
            <p:custDataLst>
              <p:tags r:id="rId1"/>
            </p:custDataLst>
            <p:extLst>
              <p:ext uri="{D42A27DB-BD31-4B8C-83A1-F6EECF244321}">
                <p14:modId xmlns:p14="http://schemas.microsoft.com/office/powerpoint/2010/main" val="222621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93165009-A386-8DC8-05B3-BA2344125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Rolls of Newspaper">
            <a:extLst>
              <a:ext uri="{FF2B5EF4-FFF2-40B4-BE49-F238E27FC236}">
                <a16:creationId xmlns:a16="http://schemas.microsoft.com/office/drawing/2014/main" id="{1FA3E685-22C8-8B83-98D8-A6E5EA666B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192000" cy="6858000"/>
          </a:xfrm>
          <a:prstGeom prst="rect">
            <a:avLst/>
          </a:prstGeom>
          <a:solidFill>
            <a:srgbClr val="FF0000"/>
          </a:solidFill>
        </p:spPr>
      </p:pic>
      <p:sp>
        <p:nvSpPr>
          <p:cNvPr id="2" name="Title 1">
            <a:extLst>
              <a:ext uri="{FF2B5EF4-FFF2-40B4-BE49-F238E27FC236}">
                <a16:creationId xmlns:a16="http://schemas.microsoft.com/office/drawing/2014/main" id="{3F8E8B46-0C08-F11B-D9D0-047F27C21D8A}"/>
              </a:ext>
            </a:extLst>
          </p:cNvPr>
          <p:cNvSpPr>
            <a:spLocks noGrp="1"/>
          </p:cNvSpPr>
          <p:nvPr>
            <p:ph type="ctrTitle"/>
          </p:nvPr>
        </p:nvSpPr>
        <p:spPr>
          <a:xfrm>
            <a:off x="1153610" y="406400"/>
            <a:ext cx="9144000" cy="1374899"/>
          </a:xfrm>
          <a:solidFill>
            <a:schemeClr val="tx1"/>
          </a:solidFill>
        </p:spPr>
        <p:txBody>
          <a:bodyPr vert="horz" anchor="ctr"/>
          <a:lstStyle/>
          <a:p>
            <a:r>
              <a:rPr lang="en-AU" dirty="0">
                <a:solidFill>
                  <a:schemeClr val="bg1"/>
                </a:solidFill>
                <a:latin typeface="Posterama" panose="020B0502040204020203" pitchFamily="34" charset="0"/>
                <a:cs typeface="Posterama" panose="020B0502040204020203" pitchFamily="34" charset="0"/>
              </a:rPr>
              <a:t>FAKE NEWS DETECTIVE </a:t>
            </a:r>
          </a:p>
        </p:txBody>
      </p:sp>
      <p:sp>
        <p:nvSpPr>
          <p:cNvPr id="3" name="Subtitle 2">
            <a:extLst>
              <a:ext uri="{FF2B5EF4-FFF2-40B4-BE49-F238E27FC236}">
                <a16:creationId xmlns:a16="http://schemas.microsoft.com/office/drawing/2014/main" id="{40B497E8-EBA3-662C-ACA4-01C96E855AC2}"/>
              </a:ext>
            </a:extLst>
          </p:cNvPr>
          <p:cNvSpPr>
            <a:spLocks noGrp="1"/>
          </p:cNvSpPr>
          <p:nvPr>
            <p:ph type="subTitle" idx="1"/>
          </p:nvPr>
        </p:nvSpPr>
        <p:spPr>
          <a:xfrm>
            <a:off x="1153610" y="1389624"/>
            <a:ext cx="9144000" cy="1104716"/>
          </a:xfrm>
        </p:spPr>
        <p:txBody>
          <a:bodyPr anchor="b">
            <a:normAutofit/>
          </a:bodyPr>
          <a:lstStyle/>
          <a:p>
            <a:r>
              <a:rPr lang="en-AU" sz="4800" b="1" dirty="0">
                <a:effectLst>
                  <a:outerShdw blurRad="139700" dist="38100" dir="2700000" algn="tl" rotWithShape="0">
                    <a:schemeClr val="bg1">
                      <a:alpha val="91000"/>
                    </a:schemeClr>
                  </a:outerShdw>
                </a:effectLst>
              </a:rPr>
              <a:t>Can you read between the lines?</a:t>
            </a:r>
          </a:p>
        </p:txBody>
      </p:sp>
      <p:sp>
        <p:nvSpPr>
          <p:cNvPr id="13" name="Rectangle 12">
            <a:extLst>
              <a:ext uri="{FF2B5EF4-FFF2-40B4-BE49-F238E27FC236}">
                <a16:creationId xmlns:a16="http://schemas.microsoft.com/office/drawing/2014/main" id="{A41BDCFC-9448-CE7A-721F-29FF9F0DF35B}"/>
              </a:ext>
            </a:extLst>
          </p:cNvPr>
          <p:cNvSpPr/>
          <p:nvPr/>
        </p:nvSpPr>
        <p:spPr>
          <a:xfrm>
            <a:off x="0" y="4808079"/>
            <a:ext cx="12192000" cy="2049920"/>
          </a:xfrm>
          <a:prstGeom prst="rect">
            <a:avLst/>
          </a:prstGeom>
          <a:solidFill>
            <a:schemeClr val="tx1">
              <a:alpha val="33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Detective female outline">
            <a:extLst>
              <a:ext uri="{FF2B5EF4-FFF2-40B4-BE49-F238E27FC236}">
                <a16:creationId xmlns:a16="http://schemas.microsoft.com/office/drawing/2014/main" id="{FDF896F7-5891-6A41-87CB-232A89796E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371" y="4888812"/>
            <a:ext cx="2049921" cy="2049921"/>
          </a:xfrm>
          <a:prstGeom prst="rect">
            <a:avLst/>
          </a:prstGeom>
          <a:effectLst>
            <a:outerShdw blurRad="177800" dist="38100" dir="2700000" algn="tl" rotWithShape="0">
              <a:prstClr val="black">
                <a:alpha val="92000"/>
              </a:prstClr>
            </a:outerShdw>
          </a:effectLst>
        </p:spPr>
      </p:pic>
      <p:sp>
        <p:nvSpPr>
          <p:cNvPr id="11" name="TextBox 10">
            <a:extLst>
              <a:ext uri="{FF2B5EF4-FFF2-40B4-BE49-F238E27FC236}">
                <a16:creationId xmlns:a16="http://schemas.microsoft.com/office/drawing/2014/main" id="{44722EB5-BEF1-16AB-321B-71C84D96C57E}"/>
              </a:ext>
            </a:extLst>
          </p:cNvPr>
          <p:cNvSpPr txBox="1"/>
          <p:nvPr/>
        </p:nvSpPr>
        <p:spPr>
          <a:xfrm>
            <a:off x="7617536" y="5046229"/>
            <a:ext cx="4485725" cy="1631216"/>
          </a:xfrm>
          <a:prstGeom prst="rect">
            <a:avLst/>
          </a:prstGeom>
          <a:noFill/>
        </p:spPr>
        <p:txBody>
          <a:bodyPr wrap="square" rtlCol="0">
            <a:spAutoFit/>
          </a:bodyPr>
          <a:lstStyle/>
          <a:p>
            <a:pPr algn="r"/>
            <a:r>
              <a:rPr lang="en-US" sz="2000" b="1" dirty="0">
                <a:solidFill>
                  <a:schemeClr val="bg1"/>
                </a:solidFill>
              </a:rPr>
              <a:t>TEAM SLEUTH</a:t>
            </a:r>
          </a:p>
          <a:p>
            <a:pPr algn="r"/>
            <a:r>
              <a:rPr lang="en-AU" sz="2000" dirty="0">
                <a:solidFill>
                  <a:schemeClr val="bg1"/>
                </a:solidFill>
              </a:rPr>
              <a:t>Uthpalie Thilakaratna-Attygalle</a:t>
            </a:r>
          </a:p>
          <a:p>
            <a:pPr algn="r"/>
            <a:r>
              <a:rPr lang="en-AU" sz="2000" dirty="0">
                <a:solidFill>
                  <a:schemeClr val="bg1"/>
                </a:solidFill>
              </a:rPr>
              <a:t>Sindhuja Sirigeri</a:t>
            </a:r>
          </a:p>
          <a:p>
            <a:pPr algn="r"/>
            <a:r>
              <a:rPr lang="en-AU" sz="2000" dirty="0">
                <a:solidFill>
                  <a:schemeClr val="bg1"/>
                </a:solidFill>
              </a:rPr>
              <a:t>Tammy Powell</a:t>
            </a:r>
          </a:p>
          <a:p>
            <a:pPr algn="r"/>
            <a:r>
              <a:rPr lang="en-AU" sz="2000" dirty="0">
                <a:solidFill>
                  <a:schemeClr val="bg1"/>
                </a:solidFill>
              </a:rPr>
              <a:t>Wendy Ware</a:t>
            </a:r>
          </a:p>
        </p:txBody>
      </p:sp>
    </p:spTree>
    <p:extLst>
      <p:ext uri="{BB962C8B-B14F-4D97-AF65-F5344CB8AC3E}">
        <p14:creationId xmlns:p14="http://schemas.microsoft.com/office/powerpoint/2010/main" val="2893999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Future Enhancements</a:t>
            </a:r>
          </a:p>
        </p:txBody>
      </p:sp>
      <p:graphicFrame>
        <p:nvGraphicFramePr>
          <p:cNvPr id="2" name="Diagram 1">
            <a:extLst>
              <a:ext uri="{FF2B5EF4-FFF2-40B4-BE49-F238E27FC236}">
                <a16:creationId xmlns:a16="http://schemas.microsoft.com/office/drawing/2014/main" id="{27C3B5EC-1099-5EC8-1ECD-52D8B9674A52}"/>
              </a:ext>
            </a:extLst>
          </p:cNvPr>
          <p:cNvGraphicFramePr/>
          <p:nvPr>
            <p:extLst>
              <p:ext uri="{D42A27DB-BD31-4B8C-83A1-F6EECF244321}">
                <p14:modId xmlns:p14="http://schemas.microsoft.com/office/powerpoint/2010/main" val="694548657"/>
              </p:ext>
            </p:extLst>
          </p:nvPr>
        </p:nvGraphicFramePr>
        <p:xfrm>
          <a:off x="226980" y="719665"/>
          <a:ext cx="11841803" cy="62842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7876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2141232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52" name="Group 1051">
            <a:extLst>
              <a:ext uri="{FF2B5EF4-FFF2-40B4-BE49-F238E27FC236}">
                <a16:creationId xmlns:a16="http://schemas.microsoft.com/office/drawing/2014/main" id="{12E967A8-FD35-DE6E-C15B-95EF0B7508D3}"/>
              </a:ext>
            </a:extLst>
          </p:cNvPr>
          <p:cNvGrpSpPr/>
          <p:nvPr/>
        </p:nvGrpSpPr>
        <p:grpSpPr>
          <a:xfrm>
            <a:off x="150598" y="1372070"/>
            <a:ext cx="11799363" cy="5094290"/>
            <a:chOff x="196318" y="800570"/>
            <a:chExt cx="11799363" cy="5094290"/>
          </a:xfrm>
        </p:grpSpPr>
        <p:sp>
          <p:nvSpPr>
            <p:cNvPr id="46" name="Rectangle: Rounded Corners 45">
              <a:extLst>
                <a:ext uri="{FF2B5EF4-FFF2-40B4-BE49-F238E27FC236}">
                  <a16:creationId xmlns:a16="http://schemas.microsoft.com/office/drawing/2014/main" id="{DDFC34D8-D194-EB11-9FA8-5966E10D65A9}"/>
                </a:ext>
              </a:extLst>
            </p:cNvPr>
            <p:cNvSpPr/>
            <p:nvPr/>
          </p:nvSpPr>
          <p:spPr>
            <a:xfrm>
              <a:off x="5313346" y="800570"/>
              <a:ext cx="6682335" cy="2576843"/>
            </a:xfrm>
            <a:prstGeom prst="roundRect">
              <a:avLst>
                <a:gd name="adj" fmla="val 2107"/>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48" name="Rectangle: Rounded Corners 1047">
              <a:extLst>
                <a:ext uri="{FF2B5EF4-FFF2-40B4-BE49-F238E27FC236}">
                  <a16:creationId xmlns:a16="http://schemas.microsoft.com/office/drawing/2014/main" id="{ED28C9F9-D923-1AB3-D814-23B6CD7ABDD0}"/>
                </a:ext>
              </a:extLst>
            </p:cNvPr>
            <p:cNvSpPr/>
            <p:nvPr/>
          </p:nvSpPr>
          <p:spPr>
            <a:xfrm>
              <a:off x="5370291" y="861400"/>
              <a:ext cx="6560044" cy="2448776"/>
            </a:xfrm>
            <a:prstGeom prst="roundRect">
              <a:avLst>
                <a:gd name="adj" fmla="val 210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Rounded Corners 9">
              <a:extLst>
                <a:ext uri="{FF2B5EF4-FFF2-40B4-BE49-F238E27FC236}">
                  <a16:creationId xmlns:a16="http://schemas.microsoft.com/office/drawing/2014/main" id="{1DB5E596-44B9-4064-85A7-E3A36A4E1CF6}"/>
                </a:ext>
              </a:extLst>
            </p:cNvPr>
            <p:cNvSpPr/>
            <p:nvPr/>
          </p:nvSpPr>
          <p:spPr>
            <a:xfrm>
              <a:off x="1722254" y="2454470"/>
              <a:ext cx="2373678" cy="612744"/>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Data Extract</a:t>
              </a:r>
            </a:p>
          </p:txBody>
        </p:sp>
        <p:sp>
          <p:nvSpPr>
            <p:cNvPr id="11" name="Rectangle: Rounded Corners 10">
              <a:extLst>
                <a:ext uri="{FF2B5EF4-FFF2-40B4-BE49-F238E27FC236}">
                  <a16:creationId xmlns:a16="http://schemas.microsoft.com/office/drawing/2014/main" id="{8E54088A-129B-13C7-7548-3522885B061E}"/>
                </a:ext>
              </a:extLst>
            </p:cNvPr>
            <p:cNvSpPr/>
            <p:nvPr/>
          </p:nvSpPr>
          <p:spPr>
            <a:xfrm>
              <a:off x="4183452" y="1604245"/>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E89756">
                      <a:lumMod val="50000"/>
                    </a:srgbClr>
                  </a:solidFill>
                  <a:latin typeface="Calibri Light"/>
                </a:rPr>
                <a:t>Pre-process</a:t>
              </a:r>
              <a:endParaRPr kumimoji="0" lang="en-US" sz="1600" b="0" i="0" u="none" strike="noStrike" kern="0" cap="none" spc="0" normalizeH="0" baseline="0" noProof="0" dirty="0">
                <a:ln>
                  <a:noFill/>
                </a:ln>
                <a:solidFill>
                  <a:srgbClr val="E89756">
                    <a:lumMod val="50000"/>
                  </a:srgbClr>
                </a:solidFill>
                <a:effectLst/>
                <a:uLnTx/>
                <a:uFillTx/>
                <a:latin typeface="Calibri Light"/>
              </a:endParaRPr>
            </a:p>
          </p:txBody>
        </p:sp>
        <p:sp>
          <p:nvSpPr>
            <p:cNvPr id="12" name="Rectangle: Rounded Corners 11">
              <a:extLst>
                <a:ext uri="{FF2B5EF4-FFF2-40B4-BE49-F238E27FC236}">
                  <a16:creationId xmlns:a16="http://schemas.microsoft.com/office/drawing/2014/main" id="{DC8969C3-EE00-E169-AB38-9FDE5C95D901}"/>
                </a:ext>
              </a:extLst>
            </p:cNvPr>
            <p:cNvSpPr/>
            <p:nvPr/>
          </p:nvSpPr>
          <p:spPr>
            <a:xfrm>
              <a:off x="9449042" y="245447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Vectorise</a:t>
              </a:r>
            </a:p>
          </p:txBody>
        </p:sp>
        <p:sp>
          <p:nvSpPr>
            <p:cNvPr id="13" name="Rectangle: Rounded Corners 12">
              <a:extLst>
                <a:ext uri="{FF2B5EF4-FFF2-40B4-BE49-F238E27FC236}">
                  <a16:creationId xmlns:a16="http://schemas.microsoft.com/office/drawing/2014/main" id="{1D2D000B-B9B2-11FB-27FF-4648A4227420}"/>
                </a:ext>
              </a:extLst>
            </p:cNvPr>
            <p:cNvSpPr/>
            <p:nvPr/>
          </p:nvSpPr>
          <p:spPr>
            <a:xfrm>
              <a:off x="9449042"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Feature Engineer</a:t>
              </a:r>
            </a:p>
          </p:txBody>
        </p:sp>
        <p:sp>
          <p:nvSpPr>
            <p:cNvPr id="14" name="Rectangle: Rounded Corners 13">
              <a:extLst>
                <a:ext uri="{FF2B5EF4-FFF2-40B4-BE49-F238E27FC236}">
                  <a16:creationId xmlns:a16="http://schemas.microsoft.com/office/drawing/2014/main" id="{E59E8AD8-E9D8-C655-D93A-DF705DEA7D24}"/>
                </a:ext>
              </a:extLst>
            </p:cNvPr>
            <p:cNvSpPr/>
            <p:nvPr/>
          </p:nvSpPr>
          <p:spPr>
            <a:xfrm>
              <a:off x="6699246" y="512512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Model &amp; Optimise</a:t>
              </a:r>
            </a:p>
          </p:txBody>
        </p:sp>
        <p:sp>
          <p:nvSpPr>
            <p:cNvPr id="15" name="Rectangle: Rounded Corners 14">
              <a:extLst>
                <a:ext uri="{FF2B5EF4-FFF2-40B4-BE49-F238E27FC236}">
                  <a16:creationId xmlns:a16="http://schemas.microsoft.com/office/drawing/2014/main" id="{7DAC30D3-F27A-007F-339C-FC18FBB9A055}"/>
                </a:ext>
              </a:extLst>
            </p:cNvPr>
            <p:cNvSpPr/>
            <p:nvPr/>
          </p:nvSpPr>
          <p:spPr>
            <a:xfrm>
              <a:off x="196318" y="5282115"/>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solidFill>
                  <a:effectLst/>
                  <a:uLnTx/>
                  <a:uFillTx/>
                  <a:latin typeface="Calibri Light"/>
                </a:rPr>
                <a:t>Publish</a:t>
              </a:r>
            </a:p>
          </p:txBody>
        </p:sp>
        <p:sp>
          <p:nvSpPr>
            <p:cNvPr id="16" name="Rectangle: Rounded Corners 15">
              <a:extLst>
                <a:ext uri="{FF2B5EF4-FFF2-40B4-BE49-F238E27FC236}">
                  <a16:creationId xmlns:a16="http://schemas.microsoft.com/office/drawing/2014/main" id="{38D00632-71E5-65A0-80E6-0718F5BC68CE}"/>
                </a:ext>
              </a:extLst>
            </p:cNvPr>
            <p:cNvSpPr/>
            <p:nvPr/>
          </p:nvSpPr>
          <p:spPr>
            <a:xfrm>
              <a:off x="1722254"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ploy</a:t>
              </a:r>
            </a:p>
          </p:txBody>
        </p:sp>
        <p:cxnSp>
          <p:nvCxnSpPr>
            <p:cNvPr id="17" name="Connector: Curved 16">
              <a:extLst>
                <a:ext uri="{FF2B5EF4-FFF2-40B4-BE49-F238E27FC236}">
                  <a16:creationId xmlns:a16="http://schemas.microsoft.com/office/drawing/2014/main" id="{269714C1-49D2-A58D-C8B3-4D69968EF994}"/>
                </a:ext>
              </a:extLst>
            </p:cNvPr>
            <p:cNvCxnSpPr>
              <a:cxnSpLocks/>
              <a:endCxn id="12" idx="0"/>
            </p:cNvCxnSpPr>
            <p:nvPr/>
          </p:nvCxnSpPr>
          <p:spPr>
            <a:xfrm>
              <a:off x="9072925" y="1910619"/>
              <a:ext cx="1562956" cy="543851"/>
            </a:xfrm>
            <a:prstGeom prst="curvedConnector2">
              <a:avLst/>
            </a:prstGeom>
            <a:noFill/>
            <a:ln w="28575" cap="flat" cmpd="sng" algn="ctr">
              <a:solidFill>
                <a:srgbClr val="000000"/>
              </a:solidFill>
              <a:prstDash val="solid"/>
              <a:miter lim="800000"/>
              <a:tailEnd type="arrow" w="lg" len="sm"/>
            </a:ln>
            <a:effectLst/>
          </p:spPr>
        </p:cxnSp>
        <p:cxnSp>
          <p:nvCxnSpPr>
            <p:cNvPr id="18" name="Connector: Curved 17">
              <a:extLst>
                <a:ext uri="{FF2B5EF4-FFF2-40B4-BE49-F238E27FC236}">
                  <a16:creationId xmlns:a16="http://schemas.microsoft.com/office/drawing/2014/main" id="{E57E7652-6684-D10D-8596-C8DDA8D3D2EF}"/>
                </a:ext>
              </a:extLst>
            </p:cNvPr>
            <p:cNvCxnSpPr>
              <a:cxnSpLocks/>
              <a:stCxn id="13" idx="2"/>
              <a:endCxn id="14" idx="3"/>
            </p:cNvCxnSpPr>
            <p:nvPr/>
          </p:nvCxnSpPr>
          <p:spPr>
            <a:xfrm rot="5400000">
              <a:off x="9482975" y="4278587"/>
              <a:ext cx="742856" cy="1562957"/>
            </a:xfrm>
            <a:prstGeom prst="curvedConnector2">
              <a:avLst/>
            </a:prstGeom>
            <a:noFill/>
            <a:ln w="28575" cap="flat" cmpd="sng" algn="ctr">
              <a:solidFill>
                <a:srgbClr val="000000"/>
              </a:solidFill>
              <a:prstDash val="solid"/>
              <a:miter lim="800000"/>
              <a:tailEnd type="arrow" w="lg" len="sm"/>
            </a:ln>
            <a:effectLst/>
          </p:spPr>
        </p:cxnSp>
        <p:cxnSp>
          <p:nvCxnSpPr>
            <p:cNvPr id="19" name="Straight Arrow Connector 18">
              <a:extLst>
                <a:ext uri="{FF2B5EF4-FFF2-40B4-BE49-F238E27FC236}">
                  <a16:creationId xmlns:a16="http://schemas.microsoft.com/office/drawing/2014/main" id="{15B32D16-BDE7-DE24-C764-69DB4E74F508}"/>
                </a:ext>
              </a:extLst>
            </p:cNvPr>
            <p:cNvCxnSpPr>
              <a:stCxn id="12" idx="2"/>
              <a:endCxn id="13" idx="0"/>
            </p:cNvCxnSpPr>
            <p:nvPr/>
          </p:nvCxnSpPr>
          <p:spPr>
            <a:xfrm>
              <a:off x="10635881" y="3067215"/>
              <a:ext cx="0" cy="1008677"/>
            </a:xfrm>
            <a:prstGeom prst="straightConnector1">
              <a:avLst/>
            </a:prstGeom>
            <a:noFill/>
            <a:ln w="28575" cap="flat" cmpd="sng" algn="ctr">
              <a:solidFill>
                <a:srgbClr val="000000"/>
              </a:solidFill>
              <a:prstDash val="solid"/>
              <a:miter lim="800000"/>
              <a:tailEnd type="arrow" w="lg" len="sm"/>
            </a:ln>
            <a:effectLst/>
          </p:spPr>
        </p:cxnSp>
        <p:cxnSp>
          <p:nvCxnSpPr>
            <p:cNvPr id="20" name="Connector: Curved 19">
              <a:extLst>
                <a:ext uri="{FF2B5EF4-FFF2-40B4-BE49-F238E27FC236}">
                  <a16:creationId xmlns:a16="http://schemas.microsoft.com/office/drawing/2014/main" id="{3E1CDEF8-4807-5F9C-8146-DF3BA1417B9B}"/>
                </a:ext>
              </a:extLst>
            </p:cNvPr>
            <p:cNvCxnSpPr>
              <a:cxnSpLocks/>
              <a:stCxn id="7" idx="1"/>
              <a:endCxn id="16" idx="2"/>
            </p:cNvCxnSpPr>
            <p:nvPr/>
          </p:nvCxnSpPr>
          <p:spPr>
            <a:xfrm rot="10800000">
              <a:off x="2909094" y="4688637"/>
              <a:ext cx="1246927" cy="727028"/>
            </a:xfrm>
            <a:prstGeom prst="curvedConnector2">
              <a:avLst/>
            </a:prstGeom>
            <a:noFill/>
            <a:ln w="28575" cap="flat" cmpd="sng" algn="ctr">
              <a:solidFill>
                <a:srgbClr val="000000"/>
              </a:solidFill>
              <a:prstDash val="solid"/>
              <a:miter lim="800000"/>
              <a:tailEnd type="arrow" w="lg" len="sm"/>
            </a:ln>
            <a:effectLst/>
          </p:spPr>
        </p:cxnSp>
        <p:cxnSp>
          <p:nvCxnSpPr>
            <p:cNvPr id="22" name="Connector: Curved 21">
              <a:extLst>
                <a:ext uri="{FF2B5EF4-FFF2-40B4-BE49-F238E27FC236}">
                  <a16:creationId xmlns:a16="http://schemas.microsoft.com/office/drawing/2014/main" id="{7957C499-B9E4-FF19-841A-6A828F16BB70}"/>
                </a:ext>
              </a:extLst>
            </p:cNvPr>
            <p:cNvCxnSpPr>
              <a:cxnSpLocks/>
              <a:stCxn id="10" idx="0"/>
              <a:endCxn id="11" idx="1"/>
            </p:cNvCxnSpPr>
            <p:nvPr/>
          </p:nvCxnSpPr>
          <p:spPr>
            <a:xfrm rot="5400000" flipH="1" flipV="1">
              <a:off x="3274346" y="1545365"/>
              <a:ext cx="543852" cy="1274359"/>
            </a:xfrm>
            <a:prstGeom prst="curvedConnector2">
              <a:avLst/>
            </a:prstGeom>
            <a:noFill/>
            <a:ln w="28575" cap="flat" cmpd="sng" algn="ctr">
              <a:solidFill>
                <a:srgbClr val="000000"/>
              </a:solidFill>
              <a:prstDash val="solid"/>
              <a:miter lim="800000"/>
              <a:tailEnd type="arrow" w="lg" len="sm"/>
            </a:ln>
            <a:effectLst/>
          </p:spPr>
        </p:cxnSp>
        <p:sp>
          <p:nvSpPr>
            <p:cNvPr id="23" name="Oval 22">
              <a:extLst>
                <a:ext uri="{FF2B5EF4-FFF2-40B4-BE49-F238E27FC236}">
                  <a16:creationId xmlns:a16="http://schemas.microsoft.com/office/drawing/2014/main" id="{EF6F418E-52E2-252B-D267-94D3DF6FC084}"/>
                </a:ext>
              </a:extLst>
            </p:cNvPr>
            <p:cNvSpPr/>
            <p:nvPr/>
          </p:nvSpPr>
          <p:spPr>
            <a:xfrm>
              <a:off x="1383157"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1</a:t>
              </a:r>
            </a:p>
          </p:txBody>
        </p:sp>
        <p:sp>
          <p:nvSpPr>
            <p:cNvPr id="24" name="Oval 23">
              <a:extLst>
                <a:ext uri="{FF2B5EF4-FFF2-40B4-BE49-F238E27FC236}">
                  <a16:creationId xmlns:a16="http://schemas.microsoft.com/office/drawing/2014/main" id="{7248629B-384D-D64F-D137-D1CCD52789AB}"/>
                </a:ext>
              </a:extLst>
            </p:cNvPr>
            <p:cNvSpPr/>
            <p:nvPr/>
          </p:nvSpPr>
          <p:spPr>
            <a:xfrm>
              <a:off x="5148653" y="1342358"/>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2</a:t>
              </a:r>
            </a:p>
          </p:txBody>
        </p:sp>
        <p:sp>
          <p:nvSpPr>
            <p:cNvPr id="25" name="Oval 24">
              <a:extLst>
                <a:ext uri="{FF2B5EF4-FFF2-40B4-BE49-F238E27FC236}">
                  <a16:creationId xmlns:a16="http://schemas.microsoft.com/office/drawing/2014/main" id="{DB0BE382-FABB-EE88-3489-B0E3D9382C55}"/>
                </a:ext>
              </a:extLst>
            </p:cNvPr>
            <p:cNvSpPr/>
            <p:nvPr/>
          </p:nvSpPr>
          <p:spPr>
            <a:xfrm>
              <a:off x="9109945"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4</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6" name="Oval 25">
              <a:extLst>
                <a:ext uri="{FF2B5EF4-FFF2-40B4-BE49-F238E27FC236}">
                  <a16:creationId xmlns:a16="http://schemas.microsoft.com/office/drawing/2014/main" id="{20B4B544-E7DD-25F3-D0F8-10E1F665B4C0}"/>
                </a:ext>
              </a:extLst>
            </p:cNvPr>
            <p:cNvSpPr/>
            <p:nvPr/>
          </p:nvSpPr>
          <p:spPr>
            <a:xfrm>
              <a:off x="9197869" y="4188210"/>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5</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7" name="Oval 26">
              <a:extLst>
                <a:ext uri="{FF2B5EF4-FFF2-40B4-BE49-F238E27FC236}">
                  <a16:creationId xmlns:a16="http://schemas.microsoft.com/office/drawing/2014/main" id="{71EC427D-36D8-211F-4E62-C69D192573A4}"/>
                </a:ext>
              </a:extLst>
            </p:cNvPr>
            <p:cNvSpPr/>
            <p:nvPr/>
          </p:nvSpPr>
          <p:spPr>
            <a:xfrm>
              <a:off x="7661154" y="4836862"/>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6</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8" name="Oval 27">
              <a:extLst>
                <a:ext uri="{FF2B5EF4-FFF2-40B4-BE49-F238E27FC236}">
                  <a16:creationId xmlns:a16="http://schemas.microsoft.com/office/drawing/2014/main" id="{3A4D5CF6-8CA2-DBBE-80FA-DB5DBB954298}"/>
                </a:ext>
              </a:extLst>
            </p:cNvPr>
            <p:cNvSpPr/>
            <p:nvPr/>
          </p:nvSpPr>
          <p:spPr>
            <a:xfrm>
              <a:off x="1354774" y="4159063"/>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8</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9" name="Rectangle: Rounded Corners 28">
              <a:extLst>
                <a:ext uri="{FF2B5EF4-FFF2-40B4-BE49-F238E27FC236}">
                  <a16:creationId xmlns:a16="http://schemas.microsoft.com/office/drawing/2014/main" id="{5C33906B-7246-246E-5C00-767C6AC373DE}"/>
                </a:ext>
              </a:extLst>
            </p:cNvPr>
            <p:cNvSpPr/>
            <p:nvPr/>
          </p:nvSpPr>
          <p:spPr>
            <a:xfrm>
              <a:off x="196318" y="1323719"/>
              <a:ext cx="2373678" cy="612745"/>
            </a:xfrm>
            <a:prstGeom prst="roundRect">
              <a:avLst/>
            </a:prstGeom>
            <a:solidFill>
              <a:srgbClr val="A53F51">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A53F51">
                      <a:lumMod val="50000"/>
                    </a:srgbClr>
                  </a:solidFill>
                  <a:latin typeface="Calibri Light"/>
                </a:rPr>
                <a:t>kaggle.com</a:t>
              </a:r>
              <a:endParaRPr kumimoji="0" lang="en-US" sz="1600" i="0" u="none" strike="noStrike" kern="0" cap="none" spc="0" normalizeH="0" baseline="0" noProof="0" dirty="0">
                <a:ln>
                  <a:noFill/>
                </a:ln>
                <a:solidFill>
                  <a:srgbClr val="A53F51">
                    <a:lumMod val="50000"/>
                  </a:srgbClr>
                </a:solidFill>
                <a:effectLst/>
                <a:uLnTx/>
                <a:uFillTx/>
                <a:latin typeface="Calibri Light"/>
              </a:endParaRPr>
            </a:p>
          </p:txBody>
        </p:sp>
        <p:sp>
          <p:nvSpPr>
            <p:cNvPr id="32" name="Arrow: Bent 31">
              <a:extLst>
                <a:ext uri="{FF2B5EF4-FFF2-40B4-BE49-F238E27FC236}">
                  <a16:creationId xmlns:a16="http://schemas.microsoft.com/office/drawing/2014/main" id="{61682EE7-875A-E067-80EF-CF3AEC7A51DE}"/>
                </a:ext>
              </a:extLst>
            </p:cNvPr>
            <p:cNvSpPr/>
            <p:nvPr/>
          </p:nvSpPr>
          <p:spPr>
            <a:xfrm flipV="1">
              <a:off x="856896" y="2026148"/>
              <a:ext cx="447488" cy="837414"/>
            </a:xfrm>
            <a:prstGeom prst="bentArrow">
              <a:avLst/>
            </a:prstGeom>
            <a:solidFill>
              <a:srgbClr val="E89756">
                <a:lumMod val="50000"/>
              </a:srgbClr>
            </a:solidFill>
            <a:ln w="19050" cap="flat" cmpd="sng" algn="ctr">
              <a:solidFill>
                <a:srgbClr val="A53F5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libri"/>
                <a:ea typeface="+mn-ea"/>
                <a:cs typeface="+mn-cs"/>
              </a:endParaRPr>
            </a:p>
          </p:txBody>
        </p:sp>
        <p:sp>
          <p:nvSpPr>
            <p:cNvPr id="34" name="Arrow: Bent 33">
              <a:extLst>
                <a:ext uri="{FF2B5EF4-FFF2-40B4-BE49-F238E27FC236}">
                  <a16:creationId xmlns:a16="http://schemas.microsoft.com/office/drawing/2014/main" id="{B8291438-655A-C0ED-B19B-E9C533CF53E4}"/>
                </a:ext>
              </a:extLst>
            </p:cNvPr>
            <p:cNvSpPr/>
            <p:nvPr/>
          </p:nvSpPr>
          <p:spPr>
            <a:xfrm rot="16200000" flipH="1">
              <a:off x="611132" y="4476953"/>
              <a:ext cx="837414" cy="504714"/>
            </a:xfrm>
            <a:prstGeom prst="bentArrow">
              <a:avLst/>
            </a:prstGeom>
            <a:solidFill>
              <a:srgbClr val="435369">
                <a:lumMod val="50000"/>
              </a:srgbClr>
            </a:solidFill>
            <a:ln w="19050" cap="flat" cmpd="sng" algn="ctr">
              <a:solidFill>
                <a:schemeClr val="tx1"/>
              </a:solidFill>
              <a:prstDash val="solid"/>
              <a:miter lim="800000"/>
            </a:ln>
            <a:effectLst/>
          </p:spPr>
          <p:txBody>
            <a:bodyPr rtlCol="0" anchor="ctr"/>
            <a:lstStyle/>
            <a:p>
              <a:pPr algn="ctr"/>
              <a:endParaRPr lang="en-US" sz="1600" kern="0">
                <a:solidFill>
                  <a:srgbClr val="000000"/>
                </a:solidFill>
                <a:latin typeface="Calibri"/>
              </a:endParaRPr>
            </a:p>
          </p:txBody>
        </p:sp>
        <p:sp>
          <p:nvSpPr>
            <p:cNvPr id="7" name="Rectangle: Rounded Corners 6">
              <a:extLst>
                <a:ext uri="{FF2B5EF4-FFF2-40B4-BE49-F238E27FC236}">
                  <a16:creationId xmlns:a16="http://schemas.microsoft.com/office/drawing/2014/main" id="{56D189FD-3A04-BBB8-8AFF-12AF0ED28B3C}"/>
                </a:ext>
              </a:extLst>
            </p:cNvPr>
            <p:cNvSpPr/>
            <p:nvPr/>
          </p:nvSpPr>
          <p:spPr>
            <a:xfrm>
              <a:off x="4156020" y="51092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velop</a:t>
              </a:r>
            </a:p>
          </p:txBody>
        </p:sp>
        <p:sp>
          <p:nvSpPr>
            <p:cNvPr id="30" name="Oval 29">
              <a:extLst>
                <a:ext uri="{FF2B5EF4-FFF2-40B4-BE49-F238E27FC236}">
                  <a16:creationId xmlns:a16="http://schemas.microsoft.com/office/drawing/2014/main" id="{AB44F2DF-2234-1102-5904-D81C28F67698}"/>
                </a:ext>
              </a:extLst>
            </p:cNvPr>
            <p:cNvSpPr/>
            <p:nvPr/>
          </p:nvSpPr>
          <p:spPr>
            <a:xfrm>
              <a:off x="5034228" y="4807606"/>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7</a:t>
              </a:r>
            </a:p>
          </p:txBody>
        </p:sp>
        <p:sp>
          <p:nvSpPr>
            <p:cNvPr id="31" name="Rectangle: Rounded Corners 30">
              <a:extLst>
                <a:ext uri="{FF2B5EF4-FFF2-40B4-BE49-F238E27FC236}">
                  <a16:creationId xmlns:a16="http://schemas.microsoft.com/office/drawing/2014/main" id="{22DB39C4-D05D-EDEB-7B68-27BDACFBA62B}"/>
                </a:ext>
              </a:extLst>
            </p:cNvPr>
            <p:cNvSpPr/>
            <p:nvPr/>
          </p:nvSpPr>
          <p:spPr>
            <a:xfrm>
              <a:off x="6716182" y="1605404"/>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Transform</a:t>
              </a:r>
            </a:p>
          </p:txBody>
        </p:sp>
        <p:sp>
          <p:nvSpPr>
            <p:cNvPr id="33" name="Oval 32">
              <a:extLst>
                <a:ext uri="{FF2B5EF4-FFF2-40B4-BE49-F238E27FC236}">
                  <a16:creationId xmlns:a16="http://schemas.microsoft.com/office/drawing/2014/main" id="{42DB29E6-81AD-C66A-6874-55A2E6921287}"/>
                </a:ext>
              </a:extLst>
            </p:cNvPr>
            <p:cNvSpPr/>
            <p:nvPr/>
          </p:nvSpPr>
          <p:spPr>
            <a:xfrm>
              <a:off x="7678090" y="13703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3</a:t>
              </a:r>
              <a:endParaRPr kumimoji="0" lang="en-US" sz="1600" b="0" i="0" u="none" strike="noStrike" kern="0" cap="none" spc="0" normalizeH="0" baseline="0" noProof="0" dirty="0">
                <a:ln>
                  <a:noFill/>
                </a:ln>
                <a:solidFill>
                  <a:srgbClr val="FFFFFF"/>
                </a:solidFill>
                <a:effectLst/>
                <a:uLnTx/>
                <a:uFillTx/>
                <a:latin typeface="Calibri"/>
              </a:endParaRPr>
            </a:p>
          </p:txBody>
        </p:sp>
        <p:pic>
          <p:nvPicPr>
            <p:cNvPr id="1034" name="Picture 10" descr="Streamlit logo on light background">
              <a:extLst>
                <a:ext uri="{FF2B5EF4-FFF2-40B4-BE49-F238E27FC236}">
                  <a16:creationId xmlns:a16="http://schemas.microsoft.com/office/drawing/2014/main" id="{98AC7C12-3FD0-FDF9-8804-D53EC62BAB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30600" y="3946525"/>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E98C15B3-7523-BE04-DB16-3BC2CE153374}"/>
                </a:ext>
              </a:extLst>
            </p:cNvPr>
            <p:cNvSpPr/>
            <p:nvPr/>
          </p:nvSpPr>
          <p:spPr>
            <a:xfrm>
              <a:off x="5030600" y="2480289"/>
              <a:ext cx="1340998" cy="134099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48" name="Picture 14">
              <a:extLst>
                <a:ext uri="{FF2B5EF4-FFF2-40B4-BE49-F238E27FC236}">
                  <a16:creationId xmlns:a16="http://schemas.microsoft.com/office/drawing/2014/main" id="{F63CC972-0FCE-1563-16F0-A8E684CD41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9034" y="2511576"/>
              <a:ext cx="1310811" cy="1310811"/>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Shape 48">
              <a:extLst>
                <a:ext uri="{FF2B5EF4-FFF2-40B4-BE49-F238E27FC236}">
                  <a16:creationId xmlns:a16="http://schemas.microsoft.com/office/drawing/2014/main" id="{45E8B17C-39DF-EA83-37CC-593DC46AEF12}"/>
                </a:ext>
              </a:extLst>
            </p:cNvPr>
            <p:cNvSpPr/>
            <p:nvPr/>
          </p:nvSpPr>
          <p:spPr>
            <a:xfrm>
              <a:off x="6767185" y="2547202"/>
              <a:ext cx="1284790" cy="885463"/>
            </a:xfrm>
            <a:custGeom>
              <a:avLst/>
              <a:gdLst>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4790" h="885463">
                  <a:moveTo>
                    <a:pt x="34724" y="873889"/>
                  </a:moveTo>
                  <a:lnTo>
                    <a:pt x="0" y="544010"/>
                  </a:lnTo>
                  <a:cubicBezTo>
                    <a:pt x="5787" y="455271"/>
                    <a:pt x="20256" y="384858"/>
                    <a:pt x="69448" y="341453"/>
                  </a:cubicBezTo>
                  <a:cubicBezTo>
                    <a:pt x="118640" y="298048"/>
                    <a:pt x="257536" y="322162"/>
                    <a:pt x="295154" y="283580"/>
                  </a:cubicBezTo>
                  <a:cubicBezTo>
                    <a:pt x="295154" y="225707"/>
                    <a:pt x="277056" y="138306"/>
                    <a:pt x="295154" y="109960"/>
                  </a:cubicBezTo>
                  <a:cubicBezTo>
                    <a:pt x="313252" y="81614"/>
                    <a:pt x="306728" y="76200"/>
                    <a:pt x="353027" y="57873"/>
                  </a:cubicBezTo>
                  <a:lnTo>
                    <a:pt x="572946" y="0"/>
                  </a:lnTo>
                  <a:lnTo>
                    <a:pt x="763929" y="11575"/>
                  </a:lnTo>
                  <a:cubicBezTo>
                    <a:pt x="819873" y="24114"/>
                    <a:pt x="885331" y="59441"/>
                    <a:pt x="908612" y="75235"/>
                  </a:cubicBezTo>
                  <a:cubicBezTo>
                    <a:pt x="931893" y="91029"/>
                    <a:pt x="957805" y="234387"/>
                    <a:pt x="966486" y="277792"/>
                  </a:cubicBezTo>
                  <a:lnTo>
                    <a:pt x="960698" y="335666"/>
                  </a:lnTo>
                  <a:lnTo>
                    <a:pt x="1111169" y="335666"/>
                  </a:lnTo>
                  <a:cubicBezTo>
                    <a:pt x="1152645" y="343382"/>
                    <a:pt x="1183474" y="363446"/>
                    <a:pt x="1209554" y="381965"/>
                  </a:cubicBezTo>
                  <a:cubicBezTo>
                    <a:pt x="1235634" y="400484"/>
                    <a:pt x="1272251" y="488066"/>
                    <a:pt x="1284790" y="538223"/>
                  </a:cubicBezTo>
                  <a:lnTo>
                    <a:pt x="1284790" y="682906"/>
                  </a:lnTo>
                  <a:lnTo>
                    <a:pt x="1261640" y="885463"/>
                  </a:lnTo>
                  <a:lnTo>
                    <a:pt x="34724" y="873889"/>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50" name="Picture 3">
              <a:extLst>
                <a:ext uri="{FF2B5EF4-FFF2-40B4-BE49-F238E27FC236}">
                  <a16:creationId xmlns:a16="http://schemas.microsoft.com/office/drawing/2014/main" id="{37313B75-AE83-8953-CBEC-1DD9E05C07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811" y="2534168"/>
              <a:ext cx="1336465" cy="1336465"/>
            </a:xfrm>
            <a:prstGeom prst="rect">
              <a:avLst/>
            </a:prstGeom>
            <a:noFill/>
            <a:extLst>
              <a:ext uri="{909E8E84-426E-40DD-AFC4-6F175D3DCCD1}">
                <a14:hiddenFill xmlns:a14="http://schemas.microsoft.com/office/drawing/2010/main">
                  <a:solidFill>
                    <a:srgbClr val="FFFFFF"/>
                  </a:solidFill>
                </a14:hiddenFill>
              </a:ext>
            </a:extLst>
          </p:spPr>
        </p:pic>
        <p:sp>
          <p:nvSpPr>
            <p:cNvPr id="1050" name="Rectangle: Rounded Corners 1049">
              <a:extLst>
                <a:ext uri="{FF2B5EF4-FFF2-40B4-BE49-F238E27FC236}">
                  <a16:creationId xmlns:a16="http://schemas.microsoft.com/office/drawing/2014/main" id="{BEFFF0BC-507A-F529-3B2A-06269EFCC77F}"/>
                </a:ext>
              </a:extLst>
            </p:cNvPr>
            <p:cNvSpPr/>
            <p:nvPr/>
          </p:nvSpPr>
          <p:spPr>
            <a:xfrm>
              <a:off x="10188841" y="862239"/>
              <a:ext cx="1742395" cy="589345"/>
            </a:xfrm>
            <a:prstGeom prst="roundRect">
              <a:avLst>
                <a:gd name="adj" fmla="val 10295"/>
              </a:avLst>
            </a:prstGeom>
            <a:solidFill>
              <a:schemeClr val="tx1">
                <a:lumMod val="95000"/>
                <a:lumOff val="5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600" kern="0" dirty="0">
                  <a:solidFill>
                    <a:schemeClr val="bg1"/>
                  </a:solidFill>
                  <a:latin typeface="Calibri Light"/>
                </a:rPr>
                <a:t>Exploratory Data Analysis</a:t>
              </a:r>
            </a:p>
          </p:txBody>
        </p:sp>
      </p:grpSp>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Process</a:t>
            </a:r>
          </a:p>
        </p:txBody>
      </p:sp>
      <p:sp>
        <p:nvSpPr>
          <p:cNvPr id="1053" name="Rectangle: Rounded Corners 1052">
            <a:extLst>
              <a:ext uri="{FF2B5EF4-FFF2-40B4-BE49-F238E27FC236}">
                <a16:creationId xmlns:a16="http://schemas.microsoft.com/office/drawing/2014/main" id="{7270A9C1-3C8F-2581-D67B-1C85E88E9FED}"/>
              </a:ext>
            </a:extLst>
          </p:cNvPr>
          <p:cNvSpPr/>
          <p:nvPr/>
        </p:nvSpPr>
        <p:spPr>
          <a:xfrm>
            <a:off x="150598" y="1115666"/>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Calibri Light"/>
              </a:rPr>
              <a:t>Ideation</a:t>
            </a:r>
            <a:endParaRPr kumimoji="0" lang="en-US" sz="1600" i="0" u="none" strike="noStrike" kern="0" cap="none" spc="0" normalizeH="0" baseline="0" noProof="0" dirty="0">
              <a:ln>
                <a:noFill/>
              </a:ln>
              <a:solidFill>
                <a:schemeClr val="bg1"/>
              </a:solidFill>
              <a:effectLst/>
              <a:uLnTx/>
              <a:uFillTx/>
              <a:latin typeface="Calibri Light"/>
            </a:endParaRPr>
          </a:p>
        </p:txBody>
      </p:sp>
    </p:spTree>
    <p:extLst>
      <p:ext uri="{BB962C8B-B14F-4D97-AF65-F5344CB8AC3E}">
        <p14:creationId xmlns:p14="http://schemas.microsoft.com/office/powerpoint/2010/main" val="668074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169855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Data</a:t>
            </a:r>
          </a:p>
        </p:txBody>
      </p:sp>
      <p:pic>
        <p:nvPicPr>
          <p:cNvPr id="3" name="Picture 2">
            <a:extLst>
              <a:ext uri="{FF2B5EF4-FFF2-40B4-BE49-F238E27FC236}">
                <a16:creationId xmlns:a16="http://schemas.microsoft.com/office/drawing/2014/main" id="{0CDCDE80-1BEA-8DCE-E985-1CBD9A2083DE}"/>
              </a:ext>
            </a:extLst>
          </p:cNvPr>
          <p:cNvPicPr>
            <a:picLocks noChangeAspect="1"/>
          </p:cNvPicPr>
          <p:nvPr/>
        </p:nvPicPr>
        <p:blipFill>
          <a:blip r:embed="rId6"/>
          <a:stretch>
            <a:fillRect/>
          </a:stretch>
        </p:blipFill>
        <p:spPr>
          <a:xfrm>
            <a:off x="89427" y="4612326"/>
            <a:ext cx="10170469" cy="2071302"/>
          </a:xfrm>
          <a:prstGeom prst="rect">
            <a:avLst/>
          </a:prstGeom>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76128661-A096-AAD7-5F5D-4CF4807E873B}"/>
              </a:ext>
            </a:extLst>
          </p:cNvPr>
          <p:cNvSpPr/>
          <p:nvPr/>
        </p:nvSpPr>
        <p:spPr>
          <a:xfrm>
            <a:off x="9703636" y="5026596"/>
            <a:ext cx="2329489" cy="955960"/>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F2C7D87-FAF6-867B-3702-BBC051D46801}"/>
              </a:ext>
            </a:extLst>
          </p:cNvPr>
          <p:cNvSpPr/>
          <p:nvPr/>
        </p:nvSpPr>
        <p:spPr>
          <a:xfrm>
            <a:off x="9703635" y="6373966"/>
            <a:ext cx="2329489" cy="309662"/>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7FA9BB2-8CA1-D244-8C15-CE29B340E123}"/>
              </a:ext>
            </a:extLst>
          </p:cNvPr>
          <p:cNvSpPr txBox="1"/>
          <p:nvPr/>
        </p:nvSpPr>
        <p:spPr>
          <a:xfrm>
            <a:off x="10434039" y="5389690"/>
            <a:ext cx="1323340" cy="369332"/>
          </a:xfrm>
          <a:prstGeom prst="rect">
            <a:avLst/>
          </a:prstGeom>
          <a:noFill/>
        </p:spPr>
        <p:txBody>
          <a:bodyPr wrap="square" rtlCol="0">
            <a:spAutoFit/>
          </a:bodyPr>
          <a:lstStyle/>
          <a:p>
            <a:r>
              <a:rPr lang="en-US" dirty="0"/>
              <a:t>Real News</a:t>
            </a:r>
          </a:p>
        </p:txBody>
      </p:sp>
      <p:sp>
        <p:nvSpPr>
          <p:cNvPr id="9" name="Rectangle 8">
            <a:extLst>
              <a:ext uri="{FF2B5EF4-FFF2-40B4-BE49-F238E27FC236}">
                <a16:creationId xmlns:a16="http://schemas.microsoft.com/office/drawing/2014/main" id="{76128661-A096-AAD7-5F5D-4CF4807E873B}"/>
              </a:ext>
            </a:extLst>
          </p:cNvPr>
          <p:cNvSpPr/>
          <p:nvPr/>
        </p:nvSpPr>
        <p:spPr>
          <a:xfrm>
            <a:off x="9703635" y="6026833"/>
            <a:ext cx="2329489" cy="308657"/>
          </a:xfrm>
          <a:prstGeom prst="rect">
            <a:avLst/>
          </a:prstGeom>
          <a:solidFill>
            <a:srgbClr val="FF6D6D">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7FA9BB2-8CA1-D244-8C15-CE29B340E123}"/>
              </a:ext>
            </a:extLst>
          </p:cNvPr>
          <p:cNvSpPr txBox="1"/>
          <p:nvPr/>
        </p:nvSpPr>
        <p:spPr>
          <a:xfrm>
            <a:off x="10434039" y="5994349"/>
            <a:ext cx="1424940" cy="369332"/>
          </a:xfrm>
          <a:prstGeom prst="rect">
            <a:avLst/>
          </a:prstGeom>
          <a:noFill/>
        </p:spPr>
        <p:txBody>
          <a:bodyPr wrap="square" rtlCol="0">
            <a:spAutoFit/>
          </a:bodyPr>
          <a:lstStyle/>
          <a:p>
            <a:r>
              <a:rPr lang="en-US"/>
              <a:t>Fake News</a:t>
            </a:r>
            <a:endParaRPr lang="en-US" dirty="0"/>
          </a:p>
        </p:txBody>
      </p:sp>
      <p:grpSp>
        <p:nvGrpSpPr>
          <p:cNvPr id="45" name="Group 44">
            <a:extLst>
              <a:ext uri="{FF2B5EF4-FFF2-40B4-BE49-F238E27FC236}">
                <a16:creationId xmlns:a16="http://schemas.microsoft.com/office/drawing/2014/main" id="{7A15A945-882A-F051-F03D-EF6FF5D20A2B}"/>
              </a:ext>
            </a:extLst>
          </p:cNvPr>
          <p:cNvGrpSpPr/>
          <p:nvPr/>
        </p:nvGrpSpPr>
        <p:grpSpPr>
          <a:xfrm>
            <a:off x="305019" y="1060515"/>
            <a:ext cx="4480560" cy="3445999"/>
            <a:chOff x="3683452" y="1060515"/>
            <a:chExt cx="4480560" cy="3445999"/>
          </a:xfrm>
        </p:grpSpPr>
        <p:pic>
          <p:nvPicPr>
            <p:cNvPr id="36" name="Picture 35">
              <a:extLst>
                <a:ext uri="{FF2B5EF4-FFF2-40B4-BE49-F238E27FC236}">
                  <a16:creationId xmlns:a16="http://schemas.microsoft.com/office/drawing/2014/main" id="{237A6DC4-BC10-5EE0-CAD5-94EBAE6279ED}"/>
                </a:ext>
              </a:extLst>
            </p:cNvPr>
            <p:cNvPicPr>
              <a:picLocks noChangeAspect="1"/>
            </p:cNvPicPr>
            <p:nvPr/>
          </p:nvPicPr>
          <p:blipFill>
            <a:blip r:embed="rId7"/>
            <a:stretch>
              <a:fillRect/>
            </a:stretch>
          </p:blipFill>
          <p:spPr>
            <a:xfrm>
              <a:off x="3683452" y="1060515"/>
              <a:ext cx="4480560" cy="3445999"/>
            </a:xfrm>
            <a:prstGeom prst="rect">
              <a:avLst/>
            </a:prstGeom>
          </p:spPr>
        </p:pic>
        <p:grpSp>
          <p:nvGrpSpPr>
            <p:cNvPr id="42" name="Group 41">
              <a:extLst>
                <a:ext uri="{FF2B5EF4-FFF2-40B4-BE49-F238E27FC236}">
                  <a16:creationId xmlns:a16="http://schemas.microsoft.com/office/drawing/2014/main" id="{4FF61F06-2B2E-9DD2-2047-B9362FAEB409}"/>
                </a:ext>
              </a:extLst>
            </p:cNvPr>
            <p:cNvGrpSpPr/>
            <p:nvPr/>
          </p:nvGrpSpPr>
          <p:grpSpPr>
            <a:xfrm>
              <a:off x="4506796" y="1575745"/>
              <a:ext cx="1516380" cy="2522220"/>
              <a:chOff x="9086416" y="1574925"/>
              <a:chExt cx="1516380" cy="2522220"/>
            </a:xfrm>
          </p:grpSpPr>
          <p:sp>
            <p:nvSpPr>
              <p:cNvPr id="37" name="Rectangle 36">
                <a:extLst>
                  <a:ext uri="{FF2B5EF4-FFF2-40B4-BE49-F238E27FC236}">
                    <a16:creationId xmlns:a16="http://schemas.microsoft.com/office/drawing/2014/main" id="{A570632F-0DC2-0B08-A0B2-3B1D7B638BB8}"/>
                  </a:ext>
                </a:extLst>
              </p:cNvPr>
              <p:cNvSpPr/>
              <p:nvPr/>
            </p:nvSpPr>
            <p:spPr>
              <a:xfrm>
                <a:off x="9086416" y="1574925"/>
                <a:ext cx="1516380" cy="2522220"/>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CED8EA17-848D-4D58-02E4-5D8E86F418DE}"/>
                  </a:ext>
                </a:extLst>
              </p:cNvPr>
              <p:cNvSpPr/>
              <p:nvPr/>
            </p:nvSpPr>
            <p:spPr>
              <a:xfrm>
                <a:off x="9086416" y="1574925"/>
                <a:ext cx="1516380" cy="2522220"/>
              </a:xfrm>
              <a:prstGeom prst="rect">
                <a:avLst/>
              </a:prstGeom>
              <a:solidFill>
                <a:srgbClr val="FF6D6D">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Rectangle 39">
              <a:extLst>
                <a:ext uri="{FF2B5EF4-FFF2-40B4-BE49-F238E27FC236}">
                  <a16:creationId xmlns:a16="http://schemas.microsoft.com/office/drawing/2014/main" id="{BB3D8CEB-9215-61FB-F0A5-599401F21597}"/>
                </a:ext>
              </a:extLst>
            </p:cNvPr>
            <p:cNvSpPr/>
            <p:nvPr/>
          </p:nvSpPr>
          <p:spPr>
            <a:xfrm>
              <a:off x="6388936" y="1418587"/>
              <a:ext cx="1516380" cy="2679377"/>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901D9FE-E1F9-1D6B-B68D-5416B12A9F6A}"/>
                </a:ext>
              </a:extLst>
            </p:cNvPr>
            <p:cNvSpPr/>
            <p:nvPr/>
          </p:nvSpPr>
          <p:spPr>
            <a:xfrm>
              <a:off x="6388936" y="1418587"/>
              <a:ext cx="1516380" cy="2679377"/>
            </a:xfrm>
            <a:prstGeom prst="rect">
              <a:avLst/>
            </a:prstGeom>
            <a:solidFill>
              <a:srgbClr val="92D05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C199401B-6C64-7716-DA42-38E6344BB13F}"/>
                </a:ext>
              </a:extLst>
            </p:cNvPr>
            <p:cNvSpPr txBox="1"/>
            <p:nvPr/>
          </p:nvSpPr>
          <p:spPr>
            <a:xfrm>
              <a:off x="6444882" y="3698103"/>
              <a:ext cx="1414328" cy="369332"/>
            </a:xfrm>
            <a:prstGeom prst="rect">
              <a:avLst/>
            </a:prstGeom>
            <a:solidFill>
              <a:srgbClr val="E4F3D3"/>
            </a:solidFill>
            <a:ln>
              <a:solidFill>
                <a:schemeClr val="bg1"/>
              </a:solidFill>
            </a:ln>
          </p:spPr>
          <p:txBody>
            <a:bodyPr wrap="square" rtlCol="0">
              <a:spAutoFit/>
            </a:bodyPr>
            <a:lstStyle/>
            <a:p>
              <a:pPr algn="ctr"/>
              <a:r>
                <a:rPr lang="en-US" dirty="0">
                  <a:solidFill>
                    <a:schemeClr val="accent6">
                      <a:lumMod val="50000"/>
                    </a:schemeClr>
                  </a:solidFill>
                </a:rPr>
                <a:t>Real</a:t>
              </a:r>
            </a:p>
          </p:txBody>
        </p:sp>
        <p:sp>
          <p:nvSpPr>
            <p:cNvPr id="44" name="TextBox 43">
              <a:extLst>
                <a:ext uri="{FF2B5EF4-FFF2-40B4-BE49-F238E27FC236}">
                  <a16:creationId xmlns:a16="http://schemas.microsoft.com/office/drawing/2014/main" id="{3ADE87B6-6070-3D5B-46D1-544F5DF0A027}"/>
                </a:ext>
              </a:extLst>
            </p:cNvPr>
            <p:cNvSpPr txBox="1"/>
            <p:nvPr/>
          </p:nvSpPr>
          <p:spPr>
            <a:xfrm>
              <a:off x="4557822" y="3686878"/>
              <a:ext cx="1414328" cy="369332"/>
            </a:xfrm>
            <a:prstGeom prst="rect">
              <a:avLst/>
            </a:prstGeom>
            <a:solidFill>
              <a:srgbClr val="FFDADA"/>
            </a:solidFill>
            <a:ln>
              <a:solidFill>
                <a:schemeClr val="bg1"/>
              </a:solidFill>
            </a:ln>
          </p:spPr>
          <p:txBody>
            <a:bodyPr wrap="square" rtlCol="0">
              <a:spAutoFit/>
            </a:bodyPr>
            <a:lstStyle/>
            <a:p>
              <a:pPr algn="ctr"/>
              <a:r>
                <a:rPr lang="en-US" dirty="0">
                  <a:solidFill>
                    <a:srgbClr val="C00000"/>
                  </a:solidFill>
                </a:rPr>
                <a:t>Fake</a:t>
              </a:r>
            </a:p>
          </p:txBody>
        </p:sp>
      </p:grpSp>
      <p:pic>
        <p:nvPicPr>
          <p:cNvPr id="52" name="Picture 51">
            <a:extLst>
              <a:ext uri="{FF2B5EF4-FFF2-40B4-BE49-F238E27FC236}">
                <a16:creationId xmlns:a16="http://schemas.microsoft.com/office/drawing/2014/main" id="{5EB96168-122C-28F4-39D1-B085B8E2F4AB}"/>
              </a:ext>
            </a:extLst>
          </p:cNvPr>
          <p:cNvPicPr>
            <a:picLocks noChangeAspect="1"/>
          </p:cNvPicPr>
          <p:nvPr/>
        </p:nvPicPr>
        <p:blipFill rotWithShape="1">
          <a:blip r:embed="rId8"/>
          <a:srcRect r="52993"/>
          <a:stretch/>
        </p:blipFill>
        <p:spPr>
          <a:xfrm>
            <a:off x="4935035" y="1825369"/>
            <a:ext cx="3555054" cy="2057400"/>
          </a:xfrm>
          <a:prstGeom prst="rect">
            <a:avLst/>
          </a:prstGeom>
        </p:spPr>
      </p:pic>
      <p:pic>
        <p:nvPicPr>
          <p:cNvPr id="53" name="Picture 52">
            <a:extLst>
              <a:ext uri="{FF2B5EF4-FFF2-40B4-BE49-F238E27FC236}">
                <a16:creationId xmlns:a16="http://schemas.microsoft.com/office/drawing/2014/main" id="{B3A51EBC-1629-0B59-4436-8577EFD9373E}"/>
              </a:ext>
            </a:extLst>
          </p:cNvPr>
          <p:cNvPicPr>
            <a:picLocks noChangeAspect="1"/>
          </p:cNvPicPr>
          <p:nvPr/>
        </p:nvPicPr>
        <p:blipFill rotWithShape="1">
          <a:blip r:embed="rId8"/>
          <a:srcRect l="52993"/>
          <a:stretch/>
        </p:blipFill>
        <p:spPr>
          <a:xfrm>
            <a:off x="8549114" y="1839465"/>
            <a:ext cx="3555055" cy="2057400"/>
          </a:xfrm>
          <a:prstGeom prst="rect">
            <a:avLst/>
          </a:prstGeom>
        </p:spPr>
      </p:pic>
    </p:spTree>
    <p:extLst>
      <p:ext uri="{BB962C8B-B14F-4D97-AF65-F5344CB8AC3E}">
        <p14:creationId xmlns:p14="http://schemas.microsoft.com/office/powerpoint/2010/main" val="9142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C21E8E1A-EC27-C398-CB63-B56F367A972D}"/>
              </a:ext>
            </a:extLst>
          </p:cNvPr>
          <p:cNvGraphicFramePr>
            <a:graphicFrameLocks noChangeAspect="1"/>
          </p:cNvGraphicFramePr>
          <p:nvPr>
            <p:custDataLst>
              <p:tags r:id="rId1"/>
            </p:custDataLst>
            <p:extLst>
              <p:ext uri="{D42A27DB-BD31-4B8C-83A1-F6EECF244321}">
                <p14:modId xmlns:p14="http://schemas.microsoft.com/office/powerpoint/2010/main" val="1794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1" name="think-cell data - do not delete" hidden="1">
                        <a:extLst>
                          <a:ext uri="{FF2B5EF4-FFF2-40B4-BE49-F238E27FC236}">
                            <a16:creationId xmlns:a16="http://schemas.microsoft.com/office/drawing/2014/main" id="{C21E8E1A-EC27-C398-CB63-B56F367A9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itle 1">
            <a:extLst>
              <a:ext uri="{FF2B5EF4-FFF2-40B4-BE49-F238E27FC236}">
                <a16:creationId xmlns:a16="http://schemas.microsoft.com/office/drawing/2014/main" id="{6F74A914-6F0C-725F-B266-EB82F99E31BA}"/>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Data Readiness</a:t>
            </a:r>
          </a:p>
        </p:txBody>
      </p:sp>
      <p:sp>
        <p:nvSpPr>
          <p:cNvPr id="45" name="Text Placeholder 44">
            <a:extLst>
              <a:ext uri="{FF2B5EF4-FFF2-40B4-BE49-F238E27FC236}">
                <a16:creationId xmlns:a16="http://schemas.microsoft.com/office/drawing/2014/main" id="{1F101F41-B6FA-4471-991D-1C2F80000FEA}"/>
              </a:ext>
            </a:extLst>
          </p:cNvPr>
          <p:cNvSpPr>
            <a:spLocks noGrp="1"/>
          </p:cNvSpPr>
          <p:nvPr>
            <p:ph type="body" sz="quarter" idx="46"/>
          </p:nvPr>
        </p:nvSpPr>
        <p:spPr/>
        <p:txBody>
          <a:bodyPr/>
          <a:lstStyle/>
          <a:p>
            <a:endParaRPr lang="en-US" dirty="0"/>
          </a:p>
        </p:txBody>
      </p:sp>
      <p:sp>
        <p:nvSpPr>
          <p:cNvPr id="47" name="Text Placeholder 46">
            <a:extLst>
              <a:ext uri="{FF2B5EF4-FFF2-40B4-BE49-F238E27FC236}">
                <a16:creationId xmlns:a16="http://schemas.microsoft.com/office/drawing/2014/main" id="{B6FCC4CC-D24E-D0A5-63B7-5449A01F863C}"/>
              </a:ext>
            </a:extLst>
          </p:cNvPr>
          <p:cNvSpPr>
            <a:spLocks noGrp="1"/>
          </p:cNvSpPr>
          <p:nvPr>
            <p:ph type="body" sz="quarter" idx="47"/>
          </p:nvPr>
        </p:nvSpPr>
        <p:spPr/>
        <p:txBody>
          <a:bodyPr/>
          <a:lstStyle/>
          <a:p>
            <a:endParaRPr lang="en-US"/>
          </a:p>
        </p:txBody>
      </p:sp>
      <p:sp>
        <p:nvSpPr>
          <p:cNvPr id="49" name="Text Placeholder 48">
            <a:extLst>
              <a:ext uri="{FF2B5EF4-FFF2-40B4-BE49-F238E27FC236}">
                <a16:creationId xmlns:a16="http://schemas.microsoft.com/office/drawing/2014/main" id="{5075E761-1C4D-5FB9-8CE9-83A1F03FE622}"/>
              </a:ext>
            </a:extLst>
          </p:cNvPr>
          <p:cNvSpPr>
            <a:spLocks noGrp="1"/>
          </p:cNvSpPr>
          <p:nvPr>
            <p:ph type="body" sz="quarter" idx="48"/>
          </p:nvPr>
        </p:nvSpPr>
        <p:spPr/>
        <p:txBody>
          <a:bodyPr/>
          <a:lstStyle/>
          <a:p>
            <a:endParaRPr lang="en-US"/>
          </a:p>
        </p:txBody>
      </p:sp>
      <p:sp>
        <p:nvSpPr>
          <p:cNvPr id="51" name="Text Placeholder 50">
            <a:extLst>
              <a:ext uri="{FF2B5EF4-FFF2-40B4-BE49-F238E27FC236}">
                <a16:creationId xmlns:a16="http://schemas.microsoft.com/office/drawing/2014/main" id="{B2D8458A-8096-2DF3-3C51-71CBFD01C54F}"/>
              </a:ext>
            </a:extLst>
          </p:cNvPr>
          <p:cNvSpPr>
            <a:spLocks noGrp="1"/>
          </p:cNvSpPr>
          <p:nvPr>
            <p:ph type="body" sz="quarter" idx="49"/>
          </p:nvPr>
        </p:nvSpPr>
        <p:spPr/>
        <p:txBody>
          <a:bodyPr/>
          <a:lstStyle/>
          <a:p>
            <a:endParaRPr lang="en-US"/>
          </a:p>
        </p:txBody>
      </p:sp>
      <p:sp>
        <p:nvSpPr>
          <p:cNvPr id="53" name="Text Placeholder 52">
            <a:extLst>
              <a:ext uri="{FF2B5EF4-FFF2-40B4-BE49-F238E27FC236}">
                <a16:creationId xmlns:a16="http://schemas.microsoft.com/office/drawing/2014/main" id="{9B1C4D6D-D0CB-0C1B-450B-95D611F2DFF0}"/>
              </a:ext>
            </a:extLst>
          </p:cNvPr>
          <p:cNvSpPr>
            <a:spLocks noGrp="1"/>
          </p:cNvSpPr>
          <p:nvPr>
            <p:ph type="body" sz="quarter" idx="10"/>
          </p:nvPr>
        </p:nvSpPr>
        <p:spPr/>
        <p:txBody>
          <a:bodyPr/>
          <a:lstStyle/>
          <a:p>
            <a:r>
              <a:rPr lang="en-US" dirty="0"/>
              <a:t>Handle Missing Data</a:t>
            </a:r>
          </a:p>
        </p:txBody>
      </p:sp>
      <p:sp>
        <p:nvSpPr>
          <p:cNvPr id="55" name="Text Placeholder 54">
            <a:extLst>
              <a:ext uri="{FF2B5EF4-FFF2-40B4-BE49-F238E27FC236}">
                <a16:creationId xmlns:a16="http://schemas.microsoft.com/office/drawing/2014/main" id="{66072B9F-AD99-7D95-AD35-BE73D08C315A}"/>
              </a:ext>
            </a:extLst>
          </p:cNvPr>
          <p:cNvSpPr>
            <a:spLocks noGrp="1"/>
          </p:cNvSpPr>
          <p:nvPr>
            <p:ph type="body" sz="quarter" idx="16"/>
          </p:nvPr>
        </p:nvSpPr>
        <p:spPr/>
        <p:txBody>
          <a:bodyPr/>
          <a:lstStyle/>
          <a:p>
            <a:r>
              <a:rPr lang="en-US" dirty="0"/>
              <a:t>Remove stop-words</a:t>
            </a:r>
          </a:p>
        </p:txBody>
      </p:sp>
      <p:sp>
        <p:nvSpPr>
          <p:cNvPr id="57" name="Text Placeholder 56">
            <a:extLst>
              <a:ext uri="{FF2B5EF4-FFF2-40B4-BE49-F238E27FC236}">
                <a16:creationId xmlns:a16="http://schemas.microsoft.com/office/drawing/2014/main" id="{508BDE77-A900-F858-FA78-FE131C8CB507}"/>
              </a:ext>
            </a:extLst>
          </p:cNvPr>
          <p:cNvSpPr>
            <a:spLocks noGrp="1"/>
          </p:cNvSpPr>
          <p:nvPr>
            <p:ph type="body" sz="quarter" idx="22"/>
          </p:nvPr>
        </p:nvSpPr>
        <p:spPr/>
        <p:txBody>
          <a:bodyPr/>
          <a:lstStyle/>
          <a:p>
            <a:r>
              <a:rPr lang="en-US" dirty="0"/>
              <a:t>Remove Numerics &amp; special characters</a:t>
            </a:r>
          </a:p>
        </p:txBody>
      </p:sp>
      <p:sp>
        <p:nvSpPr>
          <p:cNvPr id="59" name="Text Placeholder 58">
            <a:extLst>
              <a:ext uri="{FF2B5EF4-FFF2-40B4-BE49-F238E27FC236}">
                <a16:creationId xmlns:a16="http://schemas.microsoft.com/office/drawing/2014/main" id="{37DCBB61-FE0D-9366-53AC-D3E81BCD1BBE}"/>
              </a:ext>
            </a:extLst>
          </p:cNvPr>
          <p:cNvSpPr>
            <a:spLocks noGrp="1"/>
          </p:cNvSpPr>
          <p:nvPr>
            <p:ph type="body" sz="quarter" idx="28"/>
          </p:nvPr>
        </p:nvSpPr>
        <p:spPr/>
        <p:txBody>
          <a:bodyPr/>
          <a:lstStyle/>
          <a:p>
            <a:r>
              <a:rPr lang="en-US" dirty="0"/>
              <a:t>Case folding</a:t>
            </a:r>
          </a:p>
        </p:txBody>
      </p:sp>
      <p:sp>
        <p:nvSpPr>
          <p:cNvPr id="63" name="Text Placeholder 62">
            <a:extLst>
              <a:ext uri="{FF2B5EF4-FFF2-40B4-BE49-F238E27FC236}">
                <a16:creationId xmlns:a16="http://schemas.microsoft.com/office/drawing/2014/main" id="{1D12A3F7-52C3-FD29-8F9E-B1135CDF1A28}"/>
              </a:ext>
            </a:extLst>
          </p:cNvPr>
          <p:cNvSpPr>
            <a:spLocks noGrp="1"/>
          </p:cNvSpPr>
          <p:nvPr>
            <p:ph type="body" sz="quarter" idx="50"/>
          </p:nvPr>
        </p:nvSpPr>
        <p:spPr/>
        <p:txBody>
          <a:bodyPr/>
          <a:lstStyle/>
          <a:p>
            <a:endParaRPr lang="en-US" dirty="0"/>
          </a:p>
        </p:txBody>
      </p:sp>
      <p:sp>
        <p:nvSpPr>
          <p:cNvPr id="65" name="Text Placeholder 64">
            <a:extLst>
              <a:ext uri="{FF2B5EF4-FFF2-40B4-BE49-F238E27FC236}">
                <a16:creationId xmlns:a16="http://schemas.microsoft.com/office/drawing/2014/main" id="{6BD6CC79-3E59-9E50-D844-6C37FAF22AC6}"/>
              </a:ext>
            </a:extLst>
          </p:cNvPr>
          <p:cNvSpPr>
            <a:spLocks noGrp="1"/>
          </p:cNvSpPr>
          <p:nvPr>
            <p:ph type="body" sz="quarter" idx="51"/>
          </p:nvPr>
        </p:nvSpPr>
        <p:spPr/>
        <p:txBody>
          <a:bodyPr/>
          <a:lstStyle/>
          <a:p>
            <a:endParaRPr lang="en-US"/>
          </a:p>
        </p:txBody>
      </p:sp>
      <p:sp>
        <p:nvSpPr>
          <p:cNvPr id="67" name="Text Placeholder 66">
            <a:extLst>
              <a:ext uri="{FF2B5EF4-FFF2-40B4-BE49-F238E27FC236}">
                <a16:creationId xmlns:a16="http://schemas.microsoft.com/office/drawing/2014/main" id="{CFB6A3AA-7B74-05E8-CBA0-73DABD208EDD}"/>
              </a:ext>
            </a:extLst>
          </p:cNvPr>
          <p:cNvSpPr>
            <a:spLocks noGrp="1"/>
          </p:cNvSpPr>
          <p:nvPr>
            <p:ph type="body" sz="quarter" idx="52"/>
          </p:nvPr>
        </p:nvSpPr>
        <p:spPr/>
        <p:txBody>
          <a:bodyPr/>
          <a:lstStyle/>
          <a:p>
            <a:endParaRPr lang="en-US"/>
          </a:p>
        </p:txBody>
      </p:sp>
      <p:sp>
        <p:nvSpPr>
          <p:cNvPr id="69" name="Text Placeholder 68">
            <a:extLst>
              <a:ext uri="{FF2B5EF4-FFF2-40B4-BE49-F238E27FC236}">
                <a16:creationId xmlns:a16="http://schemas.microsoft.com/office/drawing/2014/main" id="{6E0B760C-4A5A-9E18-9837-027ED29EF839}"/>
              </a:ext>
            </a:extLst>
          </p:cNvPr>
          <p:cNvSpPr>
            <a:spLocks noGrp="1"/>
          </p:cNvSpPr>
          <p:nvPr>
            <p:ph type="body" sz="quarter" idx="53"/>
          </p:nvPr>
        </p:nvSpPr>
        <p:spPr/>
        <p:txBody>
          <a:bodyPr/>
          <a:lstStyle/>
          <a:p>
            <a:endParaRPr lang="en-US"/>
          </a:p>
        </p:txBody>
      </p:sp>
      <p:sp>
        <p:nvSpPr>
          <p:cNvPr id="71" name="Text Placeholder 70">
            <a:extLst>
              <a:ext uri="{FF2B5EF4-FFF2-40B4-BE49-F238E27FC236}">
                <a16:creationId xmlns:a16="http://schemas.microsoft.com/office/drawing/2014/main" id="{D806EB78-9FAF-D387-E832-341BF6A2C40A}"/>
              </a:ext>
            </a:extLst>
          </p:cNvPr>
          <p:cNvSpPr>
            <a:spLocks noGrp="1"/>
          </p:cNvSpPr>
          <p:nvPr>
            <p:ph type="body" sz="quarter" idx="12"/>
          </p:nvPr>
        </p:nvSpPr>
        <p:spPr/>
        <p:txBody>
          <a:bodyPr/>
          <a:lstStyle/>
          <a:p>
            <a:r>
              <a:rPr lang="en-US" dirty="0"/>
              <a:t>Lemmatisation</a:t>
            </a:r>
          </a:p>
        </p:txBody>
      </p:sp>
      <p:sp>
        <p:nvSpPr>
          <p:cNvPr id="73" name="Text Placeholder 72">
            <a:extLst>
              <a:ext uri="{FF2B5EF4-FFF2-40B4-BE49-F238E27FC236}">
                <a16:creationId xmlns:a16="http://schemas.microsoft.com/office/drawing/2014/main" id="{211E5FF3-B795-A071-C534-666EC6179A40}"/>
              </a:ext>
            </a:extLst>
          </p:cNvPr>
          <p:cNvSpPr>
            <a:spLocks noGrp="1"/>
          </p:cNvSpPr>
          <p:nvPr>
            <p:ph type="body" sz="quarter" idx="18"/>
          </p:nvPr>
        </p:nvSpPr>
        <p:spPr/>
        <p:txBody>
          <a:bodyPr/>
          <a:lstStyle/>
          <a:p>
            <a:r>
              <a:rPr lang="en-US" dirty="0"/>
              <a:t>Tokenisation</a:t>
            </a:r>
          </a:p>
        </p:txBody>
      </p:sp>
      <p:sp>
        <p:nvSpPr>
          <p:cNvPr id="75" name="Text Placeholder 74">
            <a:extLst>
              <a:ext uri="{FF2B5EF4-FFF2-40B4-BE49-F238E27FC236}">
                <a16:creationId xmlns:a16="http://schemas.microsoft.com/office/drawing/2014/main" id="{52120BE2-08F1-8D41-D9CF-E3E8650E3B55}"/>
              </a:ext>
            </a:extLst>
          </p:cNvPr>
          <p:cNvSpPr>
            <a:spLocks noGrp="1"/>
          </p:cNvSpPr>
          <p:nvPr>
            <p:ph type="body" sz="quarter" idx="24"/>
          </p:nvPr>
        </p:nvSpPr>
        <p:spPr/>
        <p:txBody>
          <a:bodyPr/>
          <a:lstStyle/>
          <a:p>
            <a:r>
              <a:rPr lang="en-US" dirty="0"/>
              <a:t>Padding</a:t>
            </a:r>
          </a:p>
        </p:txBody>
      </p:sp>
      <p:sp>
        <p:nvSpPr>
          <p:cNvPr id="77" name="Text Placeholder 76">
            <a:extLst>
              <a:ext uri="{FF2B5EF4-FFF2-40B4-BE49-F238E27FC236}">
                <a16:creationId xmlns:a16="http://schemas.microsoft.com/office/drawing/2014/main" id="{BB6D2A5B-0317-7274-D046-70771943978D}"/>
              </a:ext>
            </a:extLst>
          </p:cNvPr>
          <p:cNvSpPr>
            <a:spLocks noGrp="1"/>
          </p:cNvSpPr>
          <p:nvPr>
            <p:ph type="body" sz="quarter" idx="30"/>
          </p:nvPr>
        </p:nvSpPr>
        <p:spPr/>
        <p:txBody>
          <a:bodyPr/>
          <a:lstStyle/>
          <a:p>
            <a:r>
              <a:rPr lang="en-US" dirty="0"/>
              <a:t>Transformation</a:t>
            </a:r>
          </a:p>
        </p:txBody>
      </p:sp>
      <p:sp>
        <p:nvSpPr>
          <p:cNvPr id="79" name="Text Placeholder 78">
            <a:extLst>
              <a:ext uri="{FF2B5EF4-FFF2-40B4-BE49-F238E27FC236}">
                <a16:creationId xmlns:a16="http://schemas.microsoft.com/office/drawing/2014/main" id="{848048EB-74C8-30E2-341C-F2EDCE46751B}"/>
              </a:ext>
            </a:extLst>
          </p:cNvPr>
          <p:cNvSpPr>
            <a:spLocks noGrp="1"/>
          </p:cNvSpPr>
          <p:nvPr>
            <p:ph type="body" sz="quarter" idx="54"/>
          </p:nvPr>
        </p:nvSpPr>
        <p:spPr/>
        <p:txBody>
          <a:bodyPr/>
          <a:lstStyle/>
          <a:p>
            <a:endParaRPr lang="en-US" dirty="0"/>
          </a:p>
        </p:txBody>
      </p:sp>
      <p:sp>
        <p:nvSpPr>
          <p:cNvPr id="81" name="Text Placeholder 80">
            <a:extLst>
              <a:ext uri="{FF2B5EF4-FFF2-40B4-BE49-F238E27FC236}">
                <a16:creationId xmlns:a16="http://schemas.microsoft.com/office/drawing/2014/main" id="{8465CCBE-FA98-FFB0-BF01-EAD47CB14790}"/>
              </a:ext>
            </a:extLst>
          </p:cNvPr>
          <p:cNvSpPr>
            <a:spLocks noGrp="1"/>
          </p:cNvSpPr>
          <p:nvPr>
            <p:ph type="body" sz="quarter" idx="55"/>
          </p:nvPr>
        </p:nvSpPr>
        <p:spPr/>
        <p:txBody>
          <a:bodyPr/>
          <a:lstStyle/>
          <a:p>
            <a:endParaRPr lang="en-US" dirty="0"/>
          </a:p>
        </p:txBody>
      </p:sp>
      <p:sp>
        <p:nvSpPr>
          <p:cNvPr id="83" name="Text Placeholder 82">
            <a:extLst>
              <a:ext uri="{FF2B5EF4-FFF2-40B4-BE49-F238E27FC236}">
                <a16:creationId xmlns:a16="http://schemas.microsoft.com/office/drawing/2014/main" id="{8B2AF41D-1477-2D48-C4EE-BC99307A0977}"/>
              </a:ext>
            </a:extLst>
          </p:cNvPr>
          <p:cNvSpPr>
            <a:spLocks noGrp="1"/>
          </p:cNvSpPr>
          <p:nvPr>
            <p:ph type="body" sz="quarter" idx="56"/>
          </p:nvPr>
        </p:nvSpPr>
        <p:spPr/>
        <p:txBody>
          <a:bodyPr/>
          <a:lstStyle/>
          <a:p>
            <a:endParaRPr lang="en-US" dirty="0"/>
          </a:p>
        </p:txBody>
      </p:sp>
      <p:sp>
        <p:nvSpPr>
          <p:cNvPr id="87" name="Text Placeholder 86">
            <a:extLst>
              <a:ext uri="{FF2B5EF4-FFF2-40B4-BE49-F238E27FC236}">
                <a16:creationId xmlns:a16="http://schemas.microsoft.com/office/drawing/2014/main" id="{929CE5DE-0A31-342B-BB48-85B12C252BCE}"/>
              </a:ext>
            </a:extLst>
          </p:cNvPr>
          <p:cNvSpPr>
            <a:spLocks noGrp="1"/>
          </p:cNvSpPr>
          <p:nvPr>
            <p:ph type="body" sz="quarter" idx="14"/>
          </p:nvPr>
        </p:nvSpPr>
        <p:spPr>
          <a:xfrm>
            <a:off x="9011817" y="2115517"/>
            <a:ext cx="2286000" cy="302186"/>
          </a:xfrm>
        </p:spPr>
        <p:txBody>
          <a:bodyPr/>
          <a:lstStyle/>
          <a:p>
            <a:r>
              <a:rPr lang="en-US" dirty="0"/>
              <a:t>Vectorisation</a:t>
            </a:r>
          </a:p>
        </p:txBody>
      </p:sp>
      <p:sp>
        <p:nvSpPr>
          <p:cNvPr id="89" name="Text Placeholder 88">
            <a:extLst>
              <a:ext uri="{FF2B5EF4-FFF2-40B4-BE49-F238E27FC236}">
                <a16:creationId xmlns:a16="http://schemas.microsoft.com/office/drawing/2014/main" id="{8A74F075-4AB4-4A3A-6CA7-EEB158D9327B}"/>
              </a:ext>
            </a:extLst>
          </p:cNvPr>
          <p:cNvSpPr>
            <a:spLocks noGrp="1"/>
          </p:cNvSpPr>
          <p:nvPr>
            <p:ph type="body" sz="quarter" idx="20"/>
          </p:nvPr>
        </p:nvSpPr>
        <p:spPr>
          <a:xfrm>
            <a:off x="9011817" y="3196285"/>
            <a:ext cx="2286000" cy="302186"/>
          </a:xfrm>
        </p:spPr>
        <p:txBody>
          <a:bodyPr/>
          <a:lstStyle/>
          <a:p>
            <a:r>
              <a:rPr lang="en-US" dirty="0"/>
              <a:t>Scaling &amp; FEATURE ENGINEERING</a:t>
            </a:r>
          </a:p>
        </p:txBody>
      </p:sp>
      <p:grpSp>
        <p:nvGrpSpPr>
          <p:cNvPr id="115" name="Group 114">
            <a:extLst>
              <a:ext uri="{FF2B5EF4-FFF2-40B4-BE49-F238E27FC236}">
                <a16:creationId xmlns:a16="http://schemas.microsoft.com/office/drawing/2014/main" id="{C8081A19-B98A-6BD5-82B7-DE71DDC15155}"/>
              </a:ext>
            </a:extLst>
          </p:cNvPr>
          <p:cNvGrpSpPr/>
          <p:nvPr/>
        </p:nvGrpSpPr>
        <p:grpSpPr>
          <a:xfrm>
            <a:off x="8900932" y="4265278"/>
            <a:ext cx="2987190" cy="2070913"/>
            <a:chOff x="8900932" y="4323148"/>
            <a:chExt cx="2987190" cy="2070913"/>
          </a:xfrm>
        </p:grpSpPr>
        <p:pic>
          <p:nvPicPr>
            <p:cNvPr id="113" name="Picture 112">
              <a:extLst>
                <a:ext uri="{FF2B5EF4-FFF2-40B4-BE49-F238E27FC236}">
                  <a16:creationId xmlns:a16="http://schemas.microsoft.com/office/drawing/2014/main" id="{5EA43DD8-064A-59D6-212D-2D2F0F68488B}"/>
                </a:ext>
              </a:extLst>
            </p:cNvPr>
            <p:cNvPicPr>
              <a:picLocks noChangeAspect="1"/>
            </p:cNvPicPr>
            <p:nvPr/>
          </p:nvPicPr>
          <p:blipFill>
            <a:blip r:embed="rId6"/>
            <a:stretch>
              <a:fillRect/>
            </a:stretch>
          </p:blipFill>
          <p:spPr>
            <a:xfrm>
              <a:off x="8900932" y="4699406"/>
              <a:ext cx="2987190" cy="16946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14" name="Rectangle 113">
              <a:extLst>
                <a:ext uri="{FF2B5EF4-FFF2-40B4-BE49-F238E27FC236}">
                  <a16:creationId xmlns:a16="http://schemas.microsoft.com/office/drawing/2014/main" id="{C7DCF34D-F9C3-91AB-C5C7-8D90DD569277}"/>
                </a:ext>
              </a:extLst>
            </p:cNvPr>
            <p:cNvSpPr/>
            <p:nvPr/>
          </p:nvSpPr>
          <p:spPr>
            <a:xfrm>
              <a:off x="8900932" y="4323148"/>
              <a:ext cx="2987190" cy="376258"/>
            </a:xfrm>
            <a:prstGeom prst="rect">
              <a:avLst/>
            </a:prstGeom>
            <a:gradFill>
              <a:gsLst>
                <a:gs pos="0">
                  <a:srgbClr val="4EA72E"/>
                </a:gs>
                <a:gs pos="100000">
                  <a:schemeClr val="accent3"/>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UTPUT (ready for model)</a:t>
              </a:r>
            </a:p>
          </p:txBody>
        </p:sp>
      </p:grpSp>
      <p:sp>
        <p:nvSpPr>
          <p:cNvPr id="116" name="TextBox 115">
            <a:extLst>
              <a:ext uri="{FF2B5EF4-FFF2-40B4-BE49-F238E27FC236}">
                <a16:creationId xmlns:a16="http://schemas.microsoft.com/office/drawing/2014/main" id="{80F5BDAB-DB52-3553-A1CF-A27145DE9A07}"/>
              </a:ext>
            </a:extLst>
          </p:cNvPr>
          <p:cNvSpPr txBox="1"/>
          <p:nvPr/>
        </p:nvSpPr>
        <p:spPr>
          <a:xfrm>
            <a:off x="8843055" y="6381842"/>
            <a:ext cx="2539285" cy="461665"/>
          </a:xfrm>
          <a:prstGeom prst="rect">
            <a:avLst/>
          </a:prstGeom>
          <a:noFill/>
        </p:spPr>
        <p:txBody>
          <a:bodyPr wrap="none" rtlCol="0">
            <a:spAutoFit/>
          </a:bodyPr>
          <a:lstStyle/>
          <a:p>
            <a:r>
              <a:rPr lang="en-US" sz="1200" dirty="0"/>
              <a:t>VECTORISED TEXT + </a:t>
            </a:r>
          </a:p>
          <a:p>
            <a:r>
              <a:rPr lang="en-US" sz="1200" dirty="0"/>
              <a:t>LOG TRANSFORMED TEXT_LENGTH</a:t>
            </a:r>
          </a:p>
        </p:txBody>
      </p:sp>
    </p:spTree>
    <p:extLst>
      <p:ext uri="{BB962C8B-B14F-4D97-AF65-F5344CB8AC3E}">
        <p14:creationId xmlns:p14="http://schemas.microsoft.com/office/powerpoint/2010/main" val="2366909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F4097C-64A3-D31A-9D62-83F59811FB1F}"/>
              </a:ext>
            </a:extLst>
          </p:cNvPr>
          <p:cNvGraphicFramePr>
            <a:graphicFrameLocks noChangeAspect="1"/>
          </p:cNvGraphicFramePr>
          <p:nvPr>
            <p:custDataLst>
              <p:tags r:id="rId1"/>
            </p:custDataLst>
            <p:extLst>
              <p:ext uri="{D42A27DB-BD31-4B8C-83A1-F6EECF244321}">
                <p14:modId xmlns:p14="http://schemas.microsoft.com/office/powerpoint/2010/main" val="324796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7" name="think-cell data - do not delete" hidden="1">
                        <a:extLst>
                          <a:ext uri="{FF2B5EF4-FFF2-40B4-BE49-F238E27FC236}">
                            <a16:creationId xmlns:a16="http://schemas.microsoft.com/office/drawing/2014/main" id="{B0F4097C-64A3-D31A-9D62-83F59811F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49747A-B5D9-5014-3CBC-71EDEE7C3C3F}"/>
              </a:ext>
            </a:extLst>
          </p:cNvPr>
          <p:cNvSpPr/>
          <p:nvPr/>
        </p:nvSpPr>
        <p:spPr>
          <a:xfrm>
            <a:off x="2129911" y="4675442"/>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A10DE76-E656-1F23-6E39-A5E992C43389}"/>
              </a:ext>
            </a:extLst>
          </p:cNvPr>
          <p:cNvSpPr/>
          <p:nvPr/>
        </p:nvSpPr>
        <p:spPr>
          <a:xfrm>
            <a:off x="2129911" y="75369"/>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F9B2F12F-65A3-7ADC-9703-E913F8283937}"/>
              </a:ext>
            </a:extLst>
          </p:cNvPr>
          <p:cNvPicPr>
            <a:picLocks noChangeAspect="1"/>
          </p:cNvPicPr>
          <p:nvPr/>
        </p:nvPicPr>
        <p:blipFill>
          <a:blip r:embed="rId6"/>
          <a:stretch>
            <a:fillRect/>
          </a:stretch>
        </p:blipFill>
        <p:spPr>
          <a:xfrm>
            <a:off x="2129911" y="307385"/>
            <a:ext cx="7109623" cy="147636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1" name="Picture 10">
            <a:extLst>
              <a:ext uri="{FF2B5EF4-FFF2-40B4-BE49-F238E27FC236}">
                <a16:creationId xmlns:a16="http://schemas.microsoft.com/office/drawing/2014/main" id="{067F47BB-806E-0BD4-EC3F-F1F9D25F6D8D}"/>
              </a:ext>
            </a:extLst>
          </p:cNvPr>
          <p:cNvPicPr>
            <a:picLocks noChangeAspect="1"/>
          </p:cNvPicPr>
          <p:nvPr/>
        </p:nvPicPr>
        <p:blipFill rotWithShape="1">
          <a:blip r:embed="rId7"/>
          <a:srcRect r="2233"/>
          <a:stretch/>
        </p:blipFill>
        <p:spPr>
          <a:xfrm>
            <a:off x="9297536" y="307385"/>
            <a:ext cx="2812354" cy="168398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4" name="TextBox 13">
            <a:extLst>
              <a:ext uri="{FF2B5EF4-FFF2-40B4-BE49-F238E27FC236}">
                <a16:creationId xmlns:a16="http://schemas.microsoft.com/office/drawing/2014/main" id="{C9A8B327-8FC0-83B5-EEA4-E57221E0C198}"/>
              </a:ext>
            </a:extLst>
          </p:cNvPr>
          <p:cNvSpPr txBox="1"/>
          <p:nvPr/>
        </p:nvSpPr>
        <p:spPr>
          <a:xfrm>
            <a:off x="95534" y="75369"/>
            <a:ext cx="1935795"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VECTORISED TITLE &amp; TEXT</a:t>
            </a:r>
          </a:p>
        </p:txBody>
      </p:sp>
      <p:sp>
        <p:nvSpPr>
          <p:cNvPr id="16" name="TextBox 15">
            <a:extLst>
              <a:ext uri="{FF2B5EF4-FFF2-40B4-BE49-F238E27FC236}">
                <a16:creationId xmlns:a16="http://schemas.microsoft.com/office/drawing/2014/main" id="{46F0EE85-7AD3-904F-3172-A0A9F71CD466}"/>
              </a:ext>
            </a:extLst>
          </p:cNvPr>
          <p:cNvSpPr txBox="1"/>
          <p:nvPr/>
        </p:nvSpPr>
        <p:spPr>
          <a:xfrm>
            <a:off x="95534" y="2402005"/>
            <a:ext cx="1928559" cy="523220"/>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LOG TRANSFOMED TEXT LENGTH</a:t>
            </a:r>
          </a:p>
        </p:txBody>
      </p:sp>
      <p:grpSp>
        <p:nvGrpSpPr>
          <p:cNvPr id="17" name="Group 16">
            <a:extLst>
              <a:ext uri="{FF2B5EF4-FFF2-40B4-BE49-F238E27FC236}">
                <a16:creationId xmlns:a16="http://schemas.microsoft.com/office/drawing/2014/main" id="{1CF78E60-2EE3-AA5A-4E72-98F8F80F397C}"/>
              </a:ext>
            </a:extLst>
          </p:cNvPr>
          <p:cNvGrpSpPr/>
          <p:nvPr/>
        </p:nvGrpSpPr>
        <p:grpSpPr>
          <a:xfrm>
            <a:off x="2971090" y="2311976"/>
            <a:ext cx="8348024" cy="2354273"/>
            <a:chOff x="1608138" y="1736596"/>
            <a:chExt cx="13662691" cy="4347139"/>
          </a:xfrm>
        </p:grpSpPr>
        <p:pic>
          <p:nvPicPr>
            <p:cNvPr id="18" name="Picture 17">
              <a:extLst>
                <a:ext uri="{FF2B5EF4-FFF2-40B4-BE49-F238E27FC236}">
                  <a16:creationId xmlns:a16="http://schemas.microsoft.com/office/drawing/2014/main" id="{1CDDA1EF-2667-2E70-1C4F-EC3198C28DFA}"/>
                </a:ext>
              </a:extLst>
            </p:cNvPr>
            <p:cNvPicPr>
              <a:picLocks noChangeAspect="1"/>
            </p:cNvPicPr>
            <p:nvPr/>
          </p:nvPicPr>
          <p:blipFill>
            <a:blip r:embed="rId8"/>
            <a:stretch>
              <a:fillRect/>
            </a:stretch>
          </p:blipFill>
          <p:spPr>
            <a:xfrm>
              <a:off x="1608138" y="1768910"/>
              <a:ext cx="5610225" cy="4314825"/>
            </a:xfrm>
            <a:prstGeom prst="rect">
              <a:avLst/>
            </a:prstGeom>
          </p:spPr>
        </p:pic>
        <p:pic>
          <p:nvPicPr>
            <p:cNvPr id="19" name="Picture 18">
              <a:extLst>
                <a:ext uri="{FF2B5EF4-FFF2-40B4-BE49-F238E27FC236}">
                  <a16:creationId xmlns:a16="http://schemas.microsoft.com/office/drawing/2014/main" id="{7A84A060-2807-D265-EDD5-D2839951BA57}"/>
                </a:ext>
              </a:extLst>
            </p:cNvPr>
            <p:cNvPicPr>
              <a:picLocks noChangeAspect="1"/>
            </p:cNvPicPr>
            <p:nvPr/>
          </p:nvPicPr>
          <p:blipFill>
            <a:blip r:embed="rId9"/>
            <a:stretch>
              <a:fillRect/>
            </a:stretch>
          </p:blipFill>
          <p:spPr>
            <a:xfrm>
              <a:off x="9289129" y="1736596"/>
              <a:ext cx="5981700" cy="4314823"/>
            </a:xfrm>
            <a:prstGeom prst="rect">
              <a:avLst/>
            </a:prstGeom>
          </p:spPr>
        </p:pic>
      </p:grpSp>
      <p:sp>
        <p:nvSpPr>
          <p:cNvPr id="21" name="TextBox 20">
            <a:extLst>
              <a:ext uri="{FF2B5EF4-FFF2-40B4-BE49-F238E27FC236}">
                <a16:creationId xmlns:a16="http://schemas.microsoft.com/office/drawing/2014/main" id="{67B558DB-5EB7-3252-F5FC-DDBA4EDDB5D5}"/>
              </a:ext>
            </a:extLst>
          </p:cNvPr>
          <p:cNvSpPr txBox="1"/>
          <p:nvPr/>
        </p:nvSpPr>
        <p:spPr>
          <a:xfrm>
            <a:off x="95534" y="4708759"/>
            <a:ext cx="1939529"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COMBINED MATRIX</a:t>
            </a:r>
          </a:p>
          <a:p>
            <a:endParaRPr lang="en-US" dirty="0"/>
          </a:p>
        </p:txBody>
      </p:sp>
      <p:sp>
        <p:nvSpPr>
          <p:cNvPr id="24" name="Arrow: Right 23">
            <a:extLst>
              <a:ext uri="{FF2B5EF4-FFF2-40B4-BE49-F238E27FC236}">
                <a16:creationId xmlns:a16="http://schemas.microsoft.com/office/drawing/2014/main" id="{2F795869-B3C0-611E-D0ED-922510135ABC}"/>
              </a:ext>
            </a:extLst>
          </p:cNvPr>
          <p:cNvSpPr/>
          <p:nvPr/>
        </p:nvSpPr>
        <p:spPr>
          <a:xfrm>
            <a:off x="6398987" y="5275268"/>
            <a:ext cx="1932972" cy="983848"/>
          </a:xfrm>
          <a:prstGeom prst="rightArrow">
            <a:avLst/>
          </a:prstGeom>
          <a:solidFill>
            <a:srgbClr val="A67D79"/>
          </a:solidFill>
          <a:ln>
            <a:noFill/>
          </a:ln>
          <a:effectLst>
            <a:glow rad="228600">
              <a:schemeClr val="accent1">
                <a:satMod val="175000"/>
                <a:alpha val="40000"/>
              </a:schemeClr>
            </a:glow>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8D7538-9AEA-C547-032D-95FF466191C3}"/>
              </a:ext>
            </a:extLst>
          </p:cNvPr>
          <p:cNvSpPr txBox="1"/>
          <p:nvPr/>
        </p:nvSpPr>
        <p:spPr>
          <a:xfrm>
            <a:off x="8547767" y="4974623"/>
            <a:ext cx="3264370" cy="1569660"/>
          </a:xfrm>
          <a:prstGeom prst="rect">
            <a:avLst/>
          </a:prstGeom>
          <a:solidFill>
            <a:schemeClr val="bg1"/>
          </a:solidFill>
          <a:effectLst>
            <a:outerShdw blurRad="254000" dist="50800" dir="5400000" algn="ctr" rotWithShape="0">
              <a:schemeClr val="bg1"/>
            </a:outerShdw>
          </a:effectLst>
        </p:spPr>
        <p:txBody>
          <a:bodyPr wrap="square" rtlCol="0">
            <a:spAutoFit/>
          </a:bodyPr>
          <a:lstStyle/>
          <a:p>
            <a:pPr algn="ctr"/>
            <a:r>
              <a:rPr lang="en-US" sz="3200" dirty="0"/>
              <a:t>TO </a:t>
            </a:r>
          </a:p>
          <a:p>
            <a:pPr algn="ctr"/>
            <a:r>
              <a:rPr lang="en-US" sz="3200" dirty="0"/>
              <a:t>MODELLING STAGE</a:t>
            </a:r>
          </a:p>
        </p:txBody>
      </p:sp>
      <p:sp>
        <p:nvSpPr>
          <p:cNvPr id="26" name="Rectangle 25">
            <a:extLst>
              <a:ext uri="{FF2B5EF4-FFF2-40B4-BE49-F238E27FC236}">
                <a16:creationId xmlns:a16="http://schemas.microsoft.com/office/drawing/2014/main" id="{8FB57D79-2B10-0FBC-C7EA-61A4A4F9B137}"/>
              </a:ext>
            </a:extLst>
          </p:cNvPr>
          <p:cNvSpPr/>
          <p:nvPr/>
        </p:nvSpPr>
        <p:spPr>
          <a:xfrm>
            <a:off x="9262001" y="1575945"/>
            <a:ext cx="2823548" cy="471223"/>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1853436D-F050-93AC-6496-0A5256299E34}"/>
              </a:ext>
            </a:extLst>
          </p:cNvPr>
          <p:cNvGrpSpPr/>
          <p:nvPr/>
        </p:nvGrpSpPr>
        <p:grpSpPr>
          <a:xfrm>
            <a:off x="2205537" y="4695915"/>
            <a:ext cx="3890463" cy="2125469"/>
            <a:chOff x="811190" y="4705235"/>
            <a:chExt cx="3890463" cy="2125469"/>
          </a:xfrm>
        </p:grpSpPr>
        <p:pic>
          <p:nvPicPr>
            <p:cNvPr id="8" name="Picture 7">
              <a:extLst>
                <a:ext uri="{FF2B5EF4-FFF2-40B4-BE49-F238E27FC236}">
                  <a16:creationId xmlns:a16="http://schemas.microsoft.com/office/drawing/2014/main" id="{2A51CE4C-BE60-40C0-D2CB-4AE9AAF3A979}"/>
                </a:ext>
              </a:extLst>
            </p:cNvPr>
            <p:cNvPicPr>
              <a:picLocks noChangeAspect="1"/>
            </p:cNvPicPr>
            <p:nvPr/>
          </p:nvPicPr>
          <p:blipFill>
            <a:blip r:embed="rId10"/>
            <a:stretch>
              <a:fillRect/>
            </a:stretch>
          </p:blipFill>
          <p:spPr>
            <a:xfrm>
              <a:off x="918457" y="4705235"/>
              <a:ext cx="3701310" cy="2099781"/>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27" name="Rectangle 26">
              <a:extLst>
                <a:ext uri="{FF2B5EF4-FFF2-40B4-BE49-F238E27FC236}">
                  <a16:creationId xmlns:a16="http://schemas.microsoft.com/office/drawing/2014/main" id="{130FD0E5-6466-7830-82D1-D0F07EB28C49}"/>
                </a:ext>
              </a:extLst>
            </p:cNvPr>
            <p:cNvSpPr/>
            <p:nvPr/>
          </p:nvSpPr>
          <p:spPr>
            <a:xfrm>
              <a:off x="811190" y="6505654"/>
              <a:ext cx="3890463" cy="325050"/>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Equals 1">
            <a:extLst>
              <a:ext uri="{FF2B5EF4-FFF2-40B4-BE49-F238E27FC236}">
                <a16:creationId xmlns:a16="http://schemas.microsoft.com/office/drawing/2014/main" id="{C34AB923-35CC-A863-9F81-558A61970F69}"/>
              </a:ext>
            </a:extLst>
          </p:cNvPr>
          <p:cNvSpPr/>
          <p:nvPr/>
        </p:nvSpPr>
        <p:spPr>
          <a:xfrm>
            <a:off x="377425" y="3095431"/>
            <a:ext cx="1364776" cy="1504676"/>
          </a:xfrm>
          <a:prstGeom prst="mathEqual">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us Sign 2">
            <a:extLst>
              <a:ext uri="{FF2B5EF4-FFF2-40B4-BE49-F238E27FC236}">
                <a16:creationId xmlns:a16="http://schemas.microsoft.com/office/drawing/2014/main" id="{DC7C7500-88A8-9926-ED5C-02CC147B628F}"/>
              </a:ext>
            </a:extLst>
          </p:cNvPr>
          <p:cNvSpPr/>
          <p:nvPr/>
        </p:nvSpPr>
        <p:spPr>
          <a:xfrm>
            <a:off x="331733" y="847061"/>
            <a:ext cx="1364776" cy="1364776"/>
          </a:xfrm>
          <a:prstGeom prst="mathPlus">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35C227EE-CA2D-3C96-0D31-B28709C35D89}"/>
              </a:ext>
            </a:extLst>
          </p:cNvPr>
          <p:cNvSpPr/>
          <p:nvPr/>
        </p:nvSpPr>
        <p:spPr>
          <a:xfrm>
            <a:off x="6365719" y="5352604"/>
            <a:ext cx="1932972" cy="983848"/>
          </a:xfrm>
          <a:prstGeom prst="rightArrow">
            <a:avLst/>
          </a:prstGeom>
          <a:solidFill>
            <a:schemeClr val="bg1"/>
          </a:solidFill>
          <a:ln>
            <a:noFill/>
          </a:ln>
          <a:effectLst>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47A7B086-F6E1-9DDE-6FB7-AE3EDD9E0813}"/>
              </a:ext>
            </a:extLst>
          </p:cNvPr>
          <p:cNvSpPr/>
          <p:nvPr/>
        </p:nvSpPr>
        <p:spPr>
          <a:xfrm>
            <a:off x="6637468" y="3095431"/>
            <a:ext cx="946673" cy="809595"/>
          </a:xfrm>
          <a:prstGeom prst="rightArrow">
            <a:avLst/>
          </a:prstGeom>
          <a:solidFill>
            <a:srgbClr val="FFBE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D59AACF5-3AC7-5931-95F4-74D89BA660C0}"/>
              </a:ext>
            </a:extLst>
          </p:cNvPr>
          <p:cNvSpPr/>
          <p:nvPr/>
        </p:nvSpPr>
        <p:spPr>
          <a:xfrm>
            <a:off x="6607093" y="3140934"/>
            <a:ext cx="946673" cy="809595"/>
          </a:xfrm>
          <a:prstGeom prst="rightArrow">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9790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CC6C58D-ED1C-FEC3-B46A-3FA6AD0825E7}"/>
              </a:ext>
            </a:extLst>
          </p:cNvPr>
          <p:cNvGrpSpPr/>
          <p:nvPr/>
        </p:nvGrpSpPr>
        <p:grpSpPr>
          <a:xfrm>
            <a:off x="640289" y="983227"/>
            <a:ext cx="5236322" cy="4150892"/>
            <a:chOff x="729205" y="914395"/>
            <a:chExt cx="5236322" cy="4150892"/>
          </a:xfrm>
        </p:grpSpPr>
        <p:sp>
          <p:nvSpPr>
            <p:cNvPr id="2" name="Rectangle: Rounded Corners 1">
              <a:extLst>
                <a:ext uri="{FF2B5EF4-FFF2-40B4-BE49-F238E27FC236}">
                  <a16:creationId xmlns:a16="http://schemas.microsoft.com/office/drawing/2014/main" id="{760E509C-F1BE-7854-498F-EA4862141DE3}"/>
                </a:ext>
              </a:extLst>
            </p:cNvPr>
            <p:cNvSpPr/>
            <p:nvPr/>
          </p:nvSpPr>
          <p:spPr>
            <a:xfrm>
              <a:off x="995423" y="914395"/>
              <a:ext cx="490477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Traditional Learning Models</a:t>
              </a:r>
            </a:p>
          </p:txBody>
        </p:sp>
        <p:sp>
          <p:nvSpPr>
            <p:cNvPr id="3" name="Rectangle: Rounded Corners 2">
              <a:extLst>
                <a:ext uri="{FF2B5EF4-FFF2-40B4-BE49-F238E27FC236}">
                  <a16:creationId xmlns:a16="http://schemas.microsoft.com/office/drawing/2014/main" id="{E131F5BC-7EFE-2795-EB95-53A2CC0307A1}"/>
                </a:ext>
              </a:extLst>
            </p:cNvPr>
            <p:cNvSpPr/>
            <p:nvPr/>
          </p:nvSpPr>
          <p:spPr>
            <a:xfrm>
              <a:off x="995423" y="1682588"/>
              <a:ext cx="4904772" cy="2152135"/>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BF02B596-DDDC-DCED-1C96-E90CD71781E8}"/>
                </a:ext>
              </a:extLst>
            </p:cNvPr>
            <p:cNvSpPr/>
            <p:nvPr/>
          </p:nvSpPr>
          <p:spPr>
            <a:xfrm>
              <a:off x="995423" y="3976598"/>
              <a:ext cx="4970104" cy="1088689"/>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Left Bracket 9">
              <a:extLst>
                <a:ext uri="{FF2B5EF4-FFF2-40B4-BE49-F238E27FC236}">
                  <a16:creationId xmlns:a16="http://schemas.microsoft.com/office/drawing/2014/main" id="{0024BA28-FD47-91D3-09CC-AF04D7B38377}"/>
                </a:ext>
              </a:extLst>
            </p:cNvPr>
            <p:cNvSpPr/>
            <p:nvPr/>
          </p:nvSpPr>
          <p:spPr>
            <a:xfrm>
              <a:off x="729205" y="1262250"/>
              <a:ext cx="266218" cy="15295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1" name="Left Bracket 10">
              <a:extLst>
                <a:ext uri="{FF2B5EF4-FFF2-40B4-BE49-F238E27FC236}">
                  <a16:creationId xmlns:a16="http://schemas.microsoft.com/office/drawing/2014/main" id="{5ADA312E-5C81-2431-AE38-516F5B2E21FD}"/>
                </a:ext>
              </a:extLst>
            </p:cNvPr>
            <p:cNvSpPr/>
            <p:nvPr/>
          </p:nvSpPr>
          <p:spPr>
            <a:xfrm>
              <a:off x="729205" y="1262250"/>
              <a:ext cx="266218" cy="34203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5" name="TextBox 14">
              <a:extLst>
                <a:ext uri="{FF2B5EF4-FFF2-40B4-BE49-F238E27FC236}">
                  <a16:creationId xmlns:a16="http://schemas.microsoft.com/office/drawing/2014/main" id="{343798C5-2604-FA19-0767-23BCFC1FBC3E}"/>
                </a:ext>
              </a:extLst>
            </p:cNvPr>
            <p:cNvSpPr txBox="1"/>
            <p:nvPr/>
          </p:nvSpPr>
          <p:spPr>
            <a:xfrm>
              <a:off x="1087007" y="1850379"/>
              <a:ext cx="4834359" cy="1192634"/>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r>
                <a:rPr lang="en-US" dirty="0"/>
                <a:t>Simple architectures</a:t>
              </a:r>
            </a:p>
            <a:p>
              <a:r>
                <a:rPr lang="en-US" dirty="0"/>
                <a:t>Cheap to build and run</a:t>
              </a:r>
            </a:p>
            <a:p>
              <a:r>
                <a:rPr lang="en-US" dirty="0"/>
                <a:t>Compatible with small data sets</a:t>
              </a:r>
            </a:p>
            <a:p>
              <a:r>
                <a:rPr lang="en-US" dirty="0"/>
                <a:t>Utilise simple features such as word frequency</a:t>
              </a:r>
            </a:p>
          </p:txBody>
        </p:sp>
        <p:sp>
          <p:nvSpPr>
            <p:cNvPr id="17" name="TextBox 16">
              <a:extLst>
                <a:ext uri="{FF2B5EF4-FFF2-40B4-BE49-F238E27FC236}">
                  <a16:creationId xmlns:a16="http://schemas.microsoft.com/office/drawing/2014/main" id="{8491C307-C6AA-24F7-5BE8-A886954A2C3F}"/>
                </a:ext>
              </a:extLst>
            </p:cNvPr>
            <p:cNvSpPr txBox="1"/>
            <p:nvPr/>
          </p:nvSpPr>
          <p:spPr>
            <a:xfrm>
              <a:off x="1190745" y="4076662"/>
              <a:ext cx="4514127" cy="815608"/>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  </a:t>
              </a:r>
            </a:p>
            <a:p>
              <a:r>
                <a:rPr lang="en-AU" dirty="0"/>
                <a:t>Large, unstructured, complex data sets</a:t>
              </a:r>
            </a:p>
            <a:p>
              <a:r>
                <a:rPr lang="en-AU" dirty="0"/>
                <a:t>Extensive manual feature engineering</a:t>
              </a:r>
            </a:p>
          </p:txBody>
        </p:sp>
      </p:grpSp>
      <p:grpSp>
        <p:nvGrpSpPr>
          <p:cNvPr id="31" name="Group 30">
            <a:extLst>
              <a:ext uri="{FF2B5EF4-FFF2-40B4-BE49-F238E27FC236}">
                <a16:creationId xmlns:a16="http://schemas.microsoft.com/office/drawing/2014/main" id="{4E63E5CF-7A0C-5D35-B56F-9E0EB2DDB947}"/>
              </a:ext>
            </a:extLst>
          </p:cNvPr>
          <p:cNvGrpSpPr/>
          <p:nvPr/>
        </p:nvGrpSpPr>
        <p:grpSpPr>
          <a:xfrm>
            <a:off x="6382827" y="977444"/>
            <a:ext cx="5287701" cy="4132134"/>
            <a:chOff x="6657372" y="900533"/>
            <a:chExt cx="5287701" cy="4132134"/>
          </a:xfrm>
        </p:grpSpPr>
        <p:sp>
          <p:nvSpPr>
            <p:cNvPr id="6" name="Rectangle: Rounded Corners 5">
              <a:extLst>
                <a:ext uri="{FF2B5EF4-FFF2-40B4-BE49-F238E27FC236}">
                  <a16:creationId xmlns:a16="http://schemas.microsoft.com/office/drawing/2014/main" id="{B29A9BFA-4CBE-212A-7279-B94F9AD7A5B4}"/>
                </a:ext>
              </a:extLst>
            </p:cNvPr>
            <p:cNvSpPr/>
            <p:nvPr/>
          </p:nvSpPr>
          <p:spPr>
            <a:xfrm>
              <a:off x="6923590" y="3943979"/>
              <a:ext cx="5021482" cy="1088688"/>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TextBox 18">
              <a:extLst>
                <a:ext uri="{FF2B5EF4-FFF2-40B4-BE49-F238E27FC236}">
                  <a16:creationId xmlns:a16="http://schemas.microsoft.com/office/drawing/2014/main" id="{808D04A3-FB31-2057-C5B5-4AD1C314D68E}"/>
                </a:ext>
              </a:extLst>
            </p:cNvPr>
            <p:cNvSpPr txBox="1"/>
            <p:nvPr/>
          </p:nvSpPr>
          <p:spPr>
            <a:xfrm>
              <a:off x="6931498" y="1818040"/>
              <a:ext cx="4904772" cy="1931298"/>
            </a:xfrm>
            <a:prstGeom prst="rect">
              <a:avLst/>
            </a:prstGeom>
            <a:noFill/>
          </p:spPr>
          <p:txBody>
            <a:bodyPr wrap="square">
              <a:spAutoFit/>
            </a:bodyPr>
            <a:lstStyle/>
            <a:p>
              <a:pPr marL="285750" lvl="0" indent="-285750" algn="l">
                <a:spcAft>
                  <a:spcPts val="300"/>
                </a:spcAft>
                <a:buFont typeface="Arial" panose="020B0604020202020204" pitchFamily="34" charset="0"/>
                <a:buChar char="•"/>
              </a:pPr>
              <a:r>
                <a:rPr lang="en-AU" sz="1600" dirty="0">
                  <a:solidFill>
                    <a:srgbClr val="156082"/>
                  </a:solidFill>
                </a:rPr>
                <a:t>Complex architectures capture sequential, spatial and relational data</a:t>
              </a:r>
            </a:p>
            <a:p>
              <a:pPr marL="285750" lvl="0" indent="-285750" algn="l">
                <a:spcAft>
                  <a:spcPts val="300"/>
                </a:spcAft>
                <a:buFont typeface="Arial" panose="020B0604020202020204" pitchFamily="34" charset="0"/>
                <a:buChar char="•"/>
              </a:pPr>
              <a:r>
                <a:rPr lang="en-AU" sz="1600" dirty="0">
                  <a:solidFill>
                    <a:srgbClr val="156082"/>
                  </a:solidFill>
                </a:rPr>
                <a:t>Compatible with complex datasets e.g. big data, non-linear, multi-dimensional</a:t>
              </a:r>
            </a:p>
            <a:p>
              <a:pPr marL="285750" lvl="0" indent="-285750" algn="l">
                <a:spcAft>
                  <a:spcPts val="300"/>
                </a:spcAft>
                <a:buFont typeface="Arial" panose="020B0604020202020204" pitchFamily="34" charset="0"/>
                <a:buChar char="•"/>
              </a:pPr>
              <a:r>
                <a:rPr lang="en-AU" sz="1600" dirty="0">
                  <a:solidFill>
                    <a:srgbClr val="156082"/>
                  </a:solidFill>
                </a:rPr>
                <a:t>More </a:t>
              </a:r>
              <a:r>
                <a:rPr lang="en-AU" sz="1600" dirty="0" err="1">
                  <a:solidFill>
                    <a:srgbClr val="156082"/>
                  </a:solidFill>
                </a:rPr>
                <a:t>scaleable</a:t>
              </a:r>
              <a:r>
                <a:rPr lang="en-AU" sz="1600" dirty="0">
                  <a:solidFill>
                    <a:srgbClr val="156082"/>
                  </a:solidFill>
                </a:rPr>
                <a:t> for an evolving fake news landscape </a:t>
              </a:r>
            </a:p>
            <a:p>
              <a:pPr marL="285750" lvl="0" indent="-285750" algn="l">
                <a:spcAft>
                  <a:spcPts val="300"/>
                </a:spcAft>
                <a:buFont typeface="Arial" panose="020B0604020202020204" pitchFamily="34" charset="0"/>
                <a:buChar char="•"/>
              </a:pPr>
              <a:r>
                <a:rPr lang="en-AU" sz="1600" dirty="0">
                  <a:solidFill>
                    <a:srgbClr val="156082"/>
                  </a:solidFill>
                </a:rPr>
                <a:t>High accuracy</a:t>
              </a:r>
            </a:p>
          </p:txBody>
        </p:sp>
        <p:sp>
          <p:nvSpPr>
            <p:cNvPr id="7" name="Rectangle: Rounded Corners 6">
              <a:extLst>
                <a:ext uri="{FF2B5EF4-FFF2-40B4-BE49-F238E27FC236}">
                  <a16:creationId xmlns:a16="http://schemas.microsoft.com/office/drawing/2014/main" id="{6A5598CE-379F-B833-0267-EED7D3E31813}"/>
                </a:ext>
              </a:extLst>
            </p:cNvPr>
            <p:cNvSpPr/>
            <p:nvPr/>
          </p:nvSpPr>
          <p:spPr>
            <a:xfrm>
              <a:off x="6923590" y="1674508"/>
              <a:ext cx="5021483" cy="2142742"/>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4D1D3742-486A-26D8-8D00-1B3C88282347}"/>
                </a:ext>
              </a:extLst>
            </p:cNvPr>
            <p:cNvSpPr/>
            <p:nvPr/>
          </p:nvSpPr>
          <p:spPr>
            <a:xfrm>
              <a:off x="6923590" y="900533"/>
              <a:ext cx="502148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Deep  Learning Models</a:t>
              </a:r>
            </a:p>
          </p:txBody>
        </p:sp>
        <p:sp>
          <p:nvSpPr>
            <p:cNvPr id="21" name="TextBox 20">
              <a:extLst>
                <a:ext uri="{FF2B5EF4-FFF2-40B4-BE49-F238E27FC236}">
                  <a16:creationId xmlns:a16="http://schemas.microsoft.com/office/drawing/2014/main" id="{74F20047-72D6-937B-866D-C945172D1002}"/>
                </a:ext>
              </a:extLst>
            </p:cNvPr>
            <p:cNvSpPr txBox="1"/>
            <p:nvPr/>
          </p:nvSpPr>
          <p:spPr>
            <a:xfrm>
              <a:off x="7220447" y="4060206"/>
              <a:ext cx="2888243" cy="907941"/>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a:t>
              </a:r>
              <a:r>
                <a:rPr lang="en-AU" dirty="0"/>
                <a:t>  </a:t>
              </a:r>
            </a:p>
            <a:p>
              <a:r>
                <a:rPr lang="en-AU" dirty="0"/>
                <a:t>Expense to run</a:t>
              </a:r>
            </a:p>
            <a:p>
              <a:r>
                <a:rPr lang="en-AU" dirty="0"/>
                <a:t>Build and Run Time</a:t>
              </a:r>
            </a:p>
          </p:txBody>
        </p:sp>
        <p:sp>
          <p:nvSpPr>
            <p:cNvPr id="22" name="Left Bracket 21">
              <a:extLst>
                <a:ext uri="{FF2B5EF4-FFF2-40B4-BE49-F238E27FC236}">
                  <a16:creationId xmlns:a16="http://schemas.microsoft.com/office/drawing/2014/main" id="{EBDBEFCF-5092-4417-1B47-D4561B118AD5}"/>
                </a:ext>
              </a:extLst>
            </p:cNvPr>
            <p:cNvSpPr/>
            <p:nvPr/>
          </p:nvSpPr>
          <p:spPr>
            <a:xfrm>
              <a:off x="6657372" y="1167359"/>
              <a:ext cx="266218" cy="351416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grpSp>
      <p:sp>
        <p:nvSpPr>
          <p:cNvPr id="25" name="Rectangle: Rounded Corners 24">
            <a:extLst>
              <a:ext uri="{FF2B5EF4-FFF2-40B4-BE49-F238E27FC236}">
                <a16:creationId xmlns:a16="http://schemas.microsoft.com/office/drawing/2014/main" id="{C48A7839-DD49-C462-CF6B-CA1CBD3B61A8}"/>
              </a:ext>
            </a:extLst>
          </p:cNvPr>
          <p:cNvSpPr/>
          <p:nvPr/>
        </p:nvSpPr>
        <p:spPr>
          <a:xfrm>
            <a:off x="906507" y="5258841"/>
            <a:ext cx="4970104" cy="1468098"/>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lvl="0" indent="0" algn="ctr" defTabSz="488950">
              <a:lnSpc>
                <a:spcPct val="90000"/>
              </a:lnSpc>
              <a:spcBef>
                <a:spcPct val="0"/>
              </a:spcBef>
              <a:spcAft>
                <a:spcPct val="35000"/>
              </a:spcAft>
              <a:buFont typeface="Arial" panose="020B0604020202020204" pitchFamily="34" charset="0"/>
              <a:buNone/>
            </a:pPr>
            <a:endParaRPr lang="en-AU" sz="1600" kern="1200" baseline="0" dirty="0">
              <a:solidFill>
                <a:schemeClr val="accent2">
                  <a:lumMod val="50000"/>
                </a:schemeClr>
              </a:solidFill>
            </a:endParaRPr>
          </a:p>
        </p:txBody>
      </p:sp>
      <p:sp>
        <p:nvSpPr>
          <p:cNvPr id="26" name="Rectangle: Rounded Corners 4">
            <a:extLst>
              <a:ext uri="{FF2B5EF4-FFF2-40B4-BE49-F238E27FC236}">
                <a16:creationId xmlns:a16="http://schemas.microsoft.com/office/drawing/2014/main" id="{014DA2D1-495D-0C40-0798-6B4FD4B9644D}"/>
              </a:ext>
            </a:extLst>
          </p:cNvPr>
          <p:cNvSpPr txBox="1"/>
          <p:nvPr/>
        </p:nvSpPr>
        <p:spPr>
          <a:xfrm>
            <a:off x="1199053" y="5378569"/>
            <a:ext cx="1919705"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defTabSz="488950">
              <a:lnSpc>
                <a:spcPct val="90000"/>
              </a:lnSpc>
              <a:spcBef>
                <a:spcPct val="0"/>
              </a:spcBef>
              <a:spcAft>
                <a:spcPct val="35000"/>
              </a:spcAft>
            </a:pPr>
            <a:r>
              <a:rPr lang="en-AU" sz="1400" dirty="0">
                <a:solidFill>
                  <a:schemeClr val="accent2">
                    <a:lumMod val="50000"/>
                  </a:schemeClr>
                </a:solidFill>
              </a:rPr>
              <a:t>Logistic Regression</a:t>
            </a:r>
            <a:endParaRPr lang="en-AU" sz="1400" kern="1200" baseline="0" dirty="0">
              <a:solidFill>
                <a:schemeClr val="accent2">
                  <a:lumMod val="50000"/>
                </a:schemeClr>
              </a:solidFill>
            </a:endParaRPr>
          </a:p>
          <a:p>
            <a:pPr marL="0" lvl="0" indent="0"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Support Vector Model</a:t>
            </a:r>
          </a:p>
          <a:p>
            <a:pPr marL="0" lvl="0" indent="0"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Naïve Bayes</a:t>
            </a:r>
          </a:p>
        </p:txBody>
      </p:sp>
      <p:sp>
        <p:nvSpPr>
          <p:cNvPr id="28" name="Rectangle: Rounded Corners 27">
            <a:extLst>
              <a:ext uri="{FF2B5EF4-FFF2-40B4-BE49-F238E27FC236}">
                <a16:creationId xmlns:a16="http://schemas.microsoft.com/office/drawing/2014/main" id="{0A5D946D-368E-75CE-1CAF-D7447501A8EA}"/>
              </a:ext>
            </a:extLst>
          </p:cNvPr>
          <p:cNvSpPr/>
          <p:nvPr/>
        </p:nvSpPr>
        <p:spPr>
          <a:xfrm>
            <a:off x="6656952" y="5258841"/>
            <a:ext cx="5021482" cy="1472035"/>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AU" sz="1600"/>
          </a:p>
        </p:txBody>
      </p:sp>
      <p:sp>
        <p:nvSpPr>
          <p:cNvPr id="29" name="Rectangle: Rounded Corners 4">
            <a:extLst>
              <a:ext uri="{FF2B5EF4-FFF2-40B4-BE49-F238E27FC236}">
                <a16:creationId xmlns:a16="http://schemas.microsoft.com/office/drawing/2014/main" id="{47F002A8-CE87-8589-C995-0BF3C72639E0}"/>
              </a:ext>
            </a:extLst>
          </p:cNvPr>
          <p:cNvSpPr txBox="1"/>
          <p:nvPr/>
        </p:nvSpPr>
        <p:spPr>
          <a:xfrm>
            <a:off x="6945902" y="5342603"/>
            <a:ext cx="2623792" cy="1264606"/>
          </a:xfrm>
          <a:prstGeom prst="rect">
            <a:avLst/>
          </a:prstGeom>
          <a:scene3d>
            <a:camera prst="orthographicFront"/>
            <a:lightRig rig="threePt" dir="t"/>
          </a:scene3d>
          <a:sp3d>
            <a:bevelT w="165100" prst="coolSlant"/>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Long Short-Term Memory</a:t>
            </a:r>
          </a:p>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Recurrent Neural network</a:t>
            </a:r>
          </a:p>
          <a:p>
            <a:pPr marL="0" lvl="0" indent="0" defTabSz="488950">
              <a:lnSpc>
                <a:spcPct val="90000"/>
              </a:lnSpc>
              <a:spcBef>
                <a:spcPct val="0"/>
              </a:spcBef>
              <a:spcAft>
                <a:spcPts val="200"/>
              </a:spcAft>
              <a:buFont typeface="Arial" panose="020B0604020202020204" pitchFamily="34" charset="0"/>
              <a:buNone/>
            </a:pPr>
            <a:r>
              <a:rPr lang="en-AU" sz="1400" kern="1200" baseline="0" dirty="0">
                <a:solidFill>
                  <a:schemeClr val="accent2">
                    <a:lumMod val="50000"/>
                  </a:schemeClr>
                </a:solidFill>
              </a:rPr>
              <a:t>Convolutional Neural Network</a:t>
            </a:r>
            <a:endParaRPr lang="en-AU" sz="1400" kern="1200" dirty="0">
              <a:solidFill>
                <a:schemeClr val="accent2">
                  <a:lumMod val="50000"/>
                </a:schemeClr>
              </a:solidFill>
            </a:endParaRPr>
          </a:p>
        </p:txBody>
      </p:sp>
      <p:sp>
        <p:nvSpPr>
          <p:cNvPr id="9" name="Left Bracket 8">
            <a:extLst>
              <a:ext uri="{FF2B5EF4-FFF2-40B4-BE49-F238E27FC236}">
                <a16:creationId xmlns:a16="http://schemas.microsoft.com/office/drawing/2014/main" id="{47AE157D-EE28-BCBE-DEA7-120AF8256D13}"/>
              </a:ext>
            </a:extLst>
          </p:cNvPr>
          <p:cNvSpPr/>
          <p:nvPr/>
        </p:nvSpPr>
        <p:spPr>
          <a:xfrm>
            <a:off x="6386780" y="1244270"/>
            <a:ext cx="262265" cy="1616329"/>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2" name="Title 1">
            <a:extLst>
              <a:ext uri="{FF2B5EF4-FFF2-40B4-BE49-F238E27FC236}">
                <a16:creationId xmlns:a16="http://schemas.microsoft.com/office/drawing/2014/main" id="{F3A761E7-A12D-5849-2616-C8DF1ECFBA00}"/>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
        <p:nvSpPr>
          <p:cNvPr id="13" name="Rectangle: Rounded Corners 4">
            <a:extLst>
              <a:ext uri="{FF2B5EF4-FFF2-40B4-BE49-F238E27FC236}">
                <a16:creationId xmlns:a16="http://schemas.microsoft.com/office/drawing/2014/main" id="{8C004268-4C7D-A6BD-001C-F3C779EAAC3A}"/>
              </a:ext>
            </a:extLst>
          </p:cNvPr>
          <p:cNvSpPr txBox="1"/>
          <p:nvPr/>
        </p:nvSpPr>
        <p:spPr>
          <a:xfrm>
            <a:off x="3651149" y="5378568"/>
            <a:ext cx="1919705"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Decision Trees </a:t>
            </a:r>
          </a:p>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Radom Forest</a:t>
            </a:r>
          </a:p>
          <a:p>
            <a:pPr marL="0" lvl="0" indent="0" algn="r" defTabSz="488950">
              <a:lnSpc>
                <a:spcPct val="90000"/>
              </a:lnSpc>
              <a:spcBef>
                <a:spcPct val="0"/>
              </a:spcBef>
              <a:spcAft>
                <a:spcPct val="35000"/>
              </a:spcAft>
              <a:buFont typeface="Arial" panose="020B0604020202020204" pitchFamily="34" charset="0"/>
              <a:buNone/>
            </a:pPr>
            <a:r>
              <a:rPr lang="en-AU" sz="1400" kern="1200" baseline="0" dirty="0">
                <a:solidFill>
                  <a:schemeClr val="accent2">
                    <a:lumMod val="50000"/>
                  </a:schemeClr>
                </a:solidFill>
              </a:rPr>
              <a:t>K-Nearest Neighbours </a:t>
            </a:r>
          </a:p>
        </p:txBody>
      </p:sp>
    </p:spTree>
    <p:extLst>
      <p:ext uri="{BB962C8B-B14F-4D97-AF65-F5344CB8AC3E}">
        <p14:creationId xmlns:p14="http://schemas.microsoft.com/office/powerpoint/2010/main" val="2204377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5826106-2449-C7D9-4380-38BE714D3451}"/>
              </a:ext>
            </a:extLst>
          </p:cNvPr>
          <p:cNvGraphicFramePr>
            <a:graphicFrameLocks noGrp="1"/>
          </p:cNvGraphicFramePr>
          <p:nvPr>
            <p:extLst>
              <p:ext uri="{D42A27DB-BD31-4B8C-83A1-F6EECF244321}">
                <p14:modId xmlns:p14="http://schemas.microsoft.com/office/powerpoint/2010/main" val="3895026551"/>
              </p:ext>
            </p:extLst>
          </p:nvPr>
        </p:nvGraphicFramePr>
        <p:xfrm>
          <a:off x="2118166" y="1225472"/>
          <a:ext cx="7569846" cy="4139390"/>
        </p:xfrm>
        <a:graphic>
          <a:graphicData uri="http://schemas.openxmlformats.org/drawingml/2006/table">
            <a:tbl>
              <a:tblPr firstRow="1" bandRow="1">
                <a:tableStyleId>{5C22544A-7EE6-4342-B048-85BDC9FD1C3A}</a:tableStyleId>
              </a:tblPr>
              <a:tblGrid>
                <a:gridCol w="1261641">
                  <a:extLst>
                    <a:ext uri="{9D8B030D-6E8A-4147-A177-3AD203B41FA5}">
                      <a16:colId xmlns:a16="http://schemas.microsoft.com/office/drawing/2014/main" val="3102286299"/>
                    </a:ext>
                  </a:extLst>
                </a:gridCol>
                <a:gridCol w="1261641">
                  <a:extLst>
                    <a:ext uri="{9D8B030D-6E8A-4147-A177-3AD203B41FA5}">
                      <a16:colId xmlns:a16="http://schemas.microsoft.com/office/drawing/2014/main" val="852225984"/>
                    </a:ext>
                  </a:extLst>
                </a:gridCol>
                <a:gridCol w="1261641">
                  <a:extLst>
                    <a:ext uri="{9D8B030D-6E8A-4147-A177-3AD203B41FA5}">
                      <a16:colId xmlns:a16="http://schemas.microsoft.com/office/drawing/2014/main" val="1156486878"/>
                    </a:ext>
                  </a:extLst>
                </a:gridCol>
                <a:gridCol w="1261641">
                  <a:extLst>
                    <a:ext uri="{9D8B030D-6E8A-4147-A177-3AD203B41FA5}">
                      <a16:colId xmlns:a16="http://schemas.microsoft.com/office/drawing/2014/main" val="3197284154"/>
                    </a:ext>
                  </a:extLst>
                </a:gridCol>
                <a:gridCol w="1261641">
                  <a:extLst>
                    <a:ext uri="{9D8B030D-6E8A-4147-A177-3AD203B41FA5}">
                      <a16:colId xmlns:a16="http://schemas.microsoft.com/office/drawing/2014/main" val="453940589"/>
                    </a:ext>
                  </a:extLst>
                </a:gridCol>
                <a:gridCol w="1261641">
                  <a:extLst>
                    <a:ext uri="{9D8B030D-6E8A-4147-A177-3AD203B41FA5}">
                      <a16:colId xmlns:a16="http://schemas.microsoft.com/office/drawing/2014/main" val="151999660"/>
                    </a:ext>
                  </a:extLst>
                </a:gridCol>
              </a:tblGrid>
              <a:tr h="903922">
                <a:tc>
                  <a:txBody>
                    <a:bodyPr/>
                    <a:lstStyle/>
                    <a:p>
                      <a:pPr marL="0" algn="ctr" defTabSz="914400" rtl="0" eaLnBrk="1" latinLnBrk="0" hangingPunct="1"/>
                      <a:r>
                        <a:rPr lang="en-US" sz="1600" b="1" kern="1200" dirty="0">
                          <a:solidFill>
                            <a:schemeClr val="lt1"/>
                          </a:solidFill>
                          <a:latin typeface="+mn-lt"/>
                          <a:ea typeface="+mn-ea"/>
                          <a:cs typeface="+mn-cs"/>
                        </a:rPr>
                        <a:t>Models Used</a:t>
                      </a:r>
                    </a:p>
                  </a:txBody>
                  <a:tcPr anchor="ctr"/>
                </a:tc>
                <a:tc>
                  <a:txBody>
                    <a:bodyPr/>
                    <a:lstStyle/>
                    <a:p>
                      <a:pPr algn="ctr"/>
                      <a:r>
                        <a:rPr lang="en-US" sz="1600" dirty="0"/>
                        <a:t>Logistic Regression</a:t>
                      </a:r>
                    </a:p>
                  </a:txBody>
                  <a:tcPr anchor="ctr"/>
                </a:tc>
                <a:tc>
                  <a:txBody>
                    <a:bodyPr/>
                    <a:lstStyle/>
                    <a:p>
                      <a:pPr algn="ctr"/>
                      <a:r>
                        <a:rPr lang="en-US" sz="1600" dirty="0"/>
                        <a:t>Support Vector Model</a:t>
                      </a:r>
                    </a:p>
                  </a:txBody>
                  <a:tcPr anchor="ctr"/>
                </a:tc>
                <a:tc>
                  <a:txBody>
                    <a:bodyPr/>
                    <a:lstStyle/>
                    <a:p>
                      <a:pPr algn="ctr"/>
                      <a:r>
                        <a:rPr lang="en-US" sz="1600" dirty="0"/>
                        <a:t>Random Forest</a:t>
                      </a:r>
                    </a:p>
                  </a:txBody>
                  <a:tcPr anchor="ctr"/>
                </a:tc>
                <a:tc>
                  <a:txBody>
                    <a:bodyPr/>
                    <a:lstStyle/>
                    <a:p>
                      <a:pPr algn="ctr"/>
                      <a:r>
                        <a:rPr lang="en-US" sz="1600" dirty="0"/>
                        <a:t>Decision Tree</a:t>
                      </a:r>
                    </a:p>
                  </a:txBody>
                  <a:tcPr anchor="ctr"/>
                </a:tc>
                <a:tc>
                  <a:txBody>
                    <a:bodyPr/>
                    <a:lstStyle/>
                    <a:p>
                      <a:pPr algn="ctr"/>
                      <a:r>
                        <a:rPr lang="en-US" sz="1600" b="1" dirty="0"/>
                        <a:t>K-Nearest </a:t>
                      </a:r>
                      <a:r>
                        <a:rPr lang="en-US" sz="1600" b="1" dirty="0" err="1"/>
                        <a:t>Neighbours</a:t>
                      </a:r>
                      <a:endParaRPr lang="en-US" sz="1600" dirty="0"/>
                    </a:p>
                  </a:txBody>
                  <a:tcPr anchor="ctr"/>
                </a:tc>
                <a:extLst>
                  <a:ext uri="{0D108BD9-81ED-4DB2-BD59-A6C34878D82A}">
                    <a16:rowId xmlns:a16="http://schemas.microsoft.com/office/drawing/2014/main" val="2808552791"/>
                  </a:ext>
                </a:extLst>
              </a:tr>
              <a:tr h="808867">
                <a:tc>
                  <a:txBody>
                    <a:bodyPr/>
                    <a:lstStyle/>
                    <a:p>
                      <a:pPr algn="ctr"/>
                      <a:r>
                        <a:rPr lang="en-US" sz="1200" dirty="0"/>
                        <a:t>SPEED</a:t>
                      </a:r>
                    </a:p>
                  </a:txBody>
                  <a:tcPr anchor="ct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tc>
                  <a:txBody>
                    <a:bodyPr/>
                    <a:lstStyle/>
                    <a:p>
                      <a:endParaRPr lang="en-US" sz="1200" dirty="0"/>
                    </a:p>
                  </a:txBody>
                  <a:tcPr>
                    <a:solidFill>
                      <a:srgbClr val="FFC000"/>
                    </a:solidFill>
                  </a:tcPr>
                </a:tc>
                <a:extLst>
                  <a:ext uri="{0D108BD9-81ED-4DB2-BD59-A6C34878D82A}">
                    <a16:rowId xmlns:a16="http://schemas.microsoft.com/office/drawing/2014/main" val="4224713131"/>
                  </a:ext>
                </a:extLst>
              </a:tr>
              <a:tr h="808867">
                <a:tc>
                  <a:txBody>
                    <a:bodyPr/>
                    <a:lstStyle/>
                    <a:p>
                      <a:pPr algn="ctr"/>
                      <a:r>
                        <a:rPr lang="en-US" sz="1200" dirty="0"/>
                        <a:t>INTERPRETABILITY</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00B050"/>
                    </a:solidFill>
                  </a:tcPr>
                </a:tc>
                <a:tc>
                  <a:txBody>
                    <a:bodyPr/>
                    <a:lstStyle/>
                    <a:p>
                      <a:endParaRPr lang="en-US" sz="1200" dirty="0"/>
                    </a:p>
                  </a:txBody>
                  <a:tcPr>
                    <a:solidFill>
                      <a:srgbClr val="FFC00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extLst>
                  <a:ext uri="{0D108BD9-81ED-4DB2-BD59-A6C34878D82A}">
                    <a16:rowId xmlns:a16="http://schemas.microsoft.com/office/drawing/2014/main" val="2676160316"/>
                  </a:ext>
                </a:extLst>
              </a:tr>
              <a:tr h="808867">
                <a:tc>
                  <a:txBody>
                    <a:bodyPr/>
                    <a:lstStyle/>
                    <a:p>
                      <a:pPr algn="ctr"/>
                      <a:r>
                        <a:rPr lang="en-US" sz="1200" dirty="0"/>
                        <a:t>HANDLING </a:t>
                      </a:r>
                    </a:p>
                    <a:p>
                      <a:pPr algn="ctr"/>
                      <a:r>
                        <a:rPr lang="en-US" sz="1200" dirty="0"/>
                        <a:t>NON-LINEARITY</a:t>
                      </a:r>
                    </a:p>
                  </a:txBody>
                  <a:tcPr anchor="ctr"/>
                </a:tc>
                <a:tc>
                  <a:txBody>
                    <a:bodyPr/>
                    <a:lstStyle/>
                    <a:p>
                      <a:endParaRPr lang="en-US" sz="1200" dirty="0"/>
                    </a:p>
                  </a:txBody>
                  <a:tcPr>
                    <a:solidFill>
                      <a:srgbClr val="FF0000"/>
                    </a:solidFill>
                  </a:tcP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C000"/>
                    </a:solidFill>
                  </a:tcPr>
                </a:tc>
                <a:tc>
                  <a:txBody>
                    <a:bodyPr/>
                    <a:lstStyle/>
                    <a:p>
                      <a:endParaRPr lang="en-US" sz="1200" dirty="0"/>
                    </a:p>
                  </a:txBody>
                  <a:tcPr>
                    <a:solidFill>
                      <a:srgbClr val="FFFF00"/>
                    </a:solidFill>
                  </a:tcPr>
                </a:tc>
                <a:extLst>
                  <a:ext uri="{0D108BD9-81ED-4DB2-BD59-A6C34878D82A}">
                    <a16:rowId xmlns:a16="http://schemas.microsoft.com/office/drawing/2014/main" val="3937645088"/>
                  </a:ext>
                </a:extLst>
              </a:tr>
              <a:tr h="808867">
                <a:tc>
                  <a:txBody>
                    <a:bodyPr/>
                    <a:lstStyle/>
                    <a:p>
                      <a:pPr algn="ctr"/>
                      <a:r>
                        <a:rPr lang="en-US" sz="1200" dirty="0"/>
                        <a:t>OVERFITTING RISK</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FFFF00"/>
                    </a:solidFill>
                  </a:tcPr>
                </a:tc>
                <a:tc>
                  <a:txBody>
                    <a:bodyPr/>
                    <a:lstStyle/>
                    <a:p>
                      <a:endParaRPr lang="en-US" sz="1200" dirty="0"/>
                    </a:p>
                  </a:txBody>
                  <a:tcPr>
                    <a:solidFill>
                      <a:srgbClr val="00B050"/>
                    </a:solidFill>
                  </a:tcPr>
                </a:tc>
                <a:tc>
                  <a:txBody>
                    <a:bodyPr/>
                    <a:lstStyle/>
                    <a:p>
                      <a:endParaRPr lang="en-US" sz="1200" dirty="0"/>
                    </a:p>
                  </a:txBody>
                  <a:tcPr>
                    <a:solidFill>
                      <a:srgbClr val="FF0000"/>
                    </a:solidFill>
                  </a:tcPr>
                </a:tc>
                <a:tc>
                  <a:txBody>
                    <a:bodyPr/>
                    <a:lstStyle/>
                    <a:p>
                      <a:endParaRPr lang="en-US" sz="1200" dirty="0"/>
                    </a:p>
                  </a:txBody>
                  <a:tcPr>
                    <a:solidFill>
                      <a:srgbClr val="FFC000"/>
                    </a:solidFill>
                  </a:tcPr>
                </a:tc>
                <a:extLst>
                  <a:ext uri="{0D108BD9-81ED-4DB2-BD59-A6C34878D82A}">
                    <a16:rowId xmlns:a16="http://schemas.microsoft.com/office/drawing/2014/main" val="1099997969"/>
                  </a:ext>
                </a:extLst>
              </a:tr>
            </a:tbl>
          </a:graphicData>
        </a:graphic>
      </p:graphicFrame>
      <p:sp>
        <p:nvSpPr>
          <p:cNvPr id="7" name="TextBox 6">
            <a:extLst>
              <a:ext uri="{FF2B5EF4-FFF2-40B4-BE49-F238E27FC236}">
                <a16:creationId xmlns:a16="http://schemas.microsoft.com/office/drawing/2014/main" id="{D5A32B8E-9471-A4D0-ECC7-E3832579F7AC}"/>
              </a:ext>
            </a:extLst>
          </p:cNvPr>
          <p:cNvSpPr txBox="1"/>
          <p:nvPr/>
        </p:nvSpPr>
        <p:spPr>
          <a:xfrm>
            <a:off x="3401648" y="5454891"/>
            <a:ext cx="1243524" cy="892552"/>
          </a:xfrm>
          <a:prstGeom prst="rect">
            <a:avLst/>
          </a:prstGeom>
          <a:solidFill>
            <a:schemeClr val="tx1">
              <a:lumMod val="50000"/>
              <a:lumOff val="50000"/>
            </a:schemeClr>
          </a:solidFill>
        </p:spPr>
        <p:txBody>
          <a:bodyPr wrap="square" rtlCol="0">
            <a:spAutoFit/>
          </a:bodyPr>
          <a:lstStyle/>
          <a:p>
            <a:pPr algn="ctr"/>
            <a:r>
              <a:rPr lang="en-US" sz="2000" b="1" dirty="0">
                <a:solidFill>
                  <a:schemeClr val="bg1"/>
                </a:solidFill>
              </a:rPr>
              <a:t>1</a:t>
            </a:r>
            <a:r>
              <a:rPr lang="en-US" sz="2000" b="1" baseline="30000" dirty="0">
                <a:solidFill>
                  <a:schemeClr val="bg1"/>
                </a:solidFill>
              </a:rPr>
              <a:t>st</a:t>
            </a:r>
            <a:endParaRPr lang="en-US" sz="2000" b="1" dirty="0">
              <a:solidFill>
                <a:schemeClr val="bg1"/>
              </a:solidFill>
            </a:endParaRPr>
          </a:p>
          <a:p>
            <a:pPr algn="ctr"/>
            <a:endParaRPr lang="en-US" sz="1600" dirty="0">
              <a:solidFill>
                <a:schemeClr val="bg1"/>
              </a:solidFill>
            </a:endParaRPr>
          </a:p>
          <a:p>
            <a:pPr algn="ctr"/>
            <a:r>
              <a:rPr lang="en-US" sz="1600" dirty="0">
                <a:solidFill>
                  <a:schemeClr val="bg1"/>
                </a:solidFill>
              </a:rPr>
              <a:t>96%</a:t>
            </a:r>
          </a:p>
        </p:txBody>
      </p:sp>
      <p:sp>
        <p:nvSpPr>
          <p:cNvPr id="8" name="TextBox 7">
            <a:extLst>
              <a:ext uri="{FF2B5EF4-FFF2-40B4-BE49-F238E27FC236}">
                <a16:creationId xmlns:a16="http://schemas.microsoft.com/office/drawing/2014/main" id="{8CCD5E3E-783F-22D9-DD28-8A04C8451E2A}"/>
              </a:ext>
            </a:extLst>
          </p:cNvPr>
          <p:cNvSpPr txBox="1"/>
          <p:nvPr/>
        </p:nvSpPr>
        <p:spPr>
          <a:xfrm>
            <a:off x="4685130" y="5454891"/>
            <a:ext cx="1243524" cy="892552"/>
          </a:xfrm>
          <a:prstGeom prst="rect">
            <a:avLst/>
          </a:prstGeom>
          <a:solidFill>
            <a:schemeClr val="bg1">
              <a:lumMod val="65000"/>
            </a:schemeClr>
          </a:solidFill>
        </p:spPr>
        <p:txBody>
          <a:bodyPr wrap="square" rtlCol="0">
            <a:spAutoFit/>
          </a:bodyPr>
          <a:lstStyle/>
          <a:p>
            <a:pPr algn="ctr"/>
            <a:r>
              <a:rPr lang="en-US" sz="2000" b="1" dirty="0"/>
              <a:t>2</a:t>
            </a:r>
            <a:r>
              <a:rPr lang="en-US" sz="2000" b="1" baseline="30000" dirty="0"/>
              <a:t>nd</a:t>
            </a:r>
            <a:endParaRPr lang="en-US" sz="2000" b="1" dirty="0"/>
          </a:p>
          <a:p>
            <a:pPr algn="ctr"/>
            <a:endParaRPr lang="en-US" sz="1600" dirty="0"/>
          </a:p>
          <a:p>
            <a:pPr algn="ctr"/>
            <a:r>
              <a:rPr lang="en-US" sz="1600" dirty="0"/>
              <a:t>94%</a:t>
            </a:r>
          </a:p>
        </p:txBody>
      </p:sp>
      <p:sp>
        <p:nvSpPr>
          <p:cNvPr id="9" name="TextBox 8">
            <a:extLst>
              <a:ext uri="{FF2B5EF4-FFF2-40B4-BE49-F238E27FC236}">
                <a16:creationId xmlns:a16="http://schemas.microsoft.com/office/drawing/2014/main" id="{632E67D1-4E35-203B-7378-138664B0C856}"/>
              </a:ext>
            </a:extLst>
          </p:cNvPr>
          <p:cNvSpPr txBox="1"/>
          <p:nvPr/>
        </p:nvSpPr>
        <p:spPr>
          <a:xfrm>
            <a:off x="5968612" y="5454891"/>
            <a:ext cx="1243524" cy="892552"/>
          </a:xfrm>
          <a:prstGeom prst="rect">
            <a:avLst/>
          </a:prstGeom>
          <a:solidFill>
            <a:schemeClr val="bg1">
              <a:lumMod val="75000"/>
            </a:schemeClr>
          </a:solidFill>
        </p:spPr>
        <p:txBody>
          <a:bodyPr wrap="square" rtlCol="0">
            <a:spAutoFit/>
          </a:bodyPr>
          <a:lstStyle/>
          <a:p>
            <a:pPr algn="ctr"/>
            <a:r>
              <a:rPr lang="en-US" sz="2000" b="1" dirty="0"/>
              <a:t>3</a:t>
            </a:r>
            <a:r>
              <a:rPr lang="en-US" sz="2000" b="1" baseline="30000" dirty="0"/>
              <a:t>rd</a:t>
            </a:r>
            <a:endParaRPr lang="en-US" sz="2000" b="1" dirty="0"/>
          </a:p>
          <a:p>
            <a:pPr algn="ctr"/>
            <a:endParaRPr lang="en-US" sz="1600" dirty="0"/>
          </a:p>
          <a:p>
            <a:pPr algn="ctr"/>
            <a:r>
              <a:rPr lang="en-US" sz="1600" dirty="0"/>
              <a:t>92%</a:t>
            </a:r>
          </a:p>
        </p:txBody>
      </p:sp>
      <p:sp>
        <p:nvSpPr>
          <p:cNvPr id="10" name="TextBox 9">
            <a:extLst>
              <a:ext uri="{FF2B5EF4-FFF2-40B4-BE49-F238E27FC236}">
                <a16:creationId xmlns:a16="http://schemas.microsoft.com/office/drawing/2014/main" id="{37AE9364-2C67-7F2C-1F92-95BF8F575193}"/>
              </a:ext>
            </a:extLst>
          </p:cNvPr>
          <p:cNvSpPr txBox="1"/>
          <p:nvPr/>
        </p:nvSpPr>
        <p:spPr>
          <a:xfrm>
            <a:off x="7252094" y="5454891"/>
            <a:ext cx="1197980" cy="892552"/>
          </a:xfrm>
          <a:prstGeom prst="rect">
            <a:avLst/>
          </a:prstGeom>
          <a:solidFill>
            <a:schemeClr val="bg1">
              <a:lumMod val="85000"/>
            </a:schemeClr>
          </a:solidFill>
        </p:spPr>
        <p:txBody>
          <a:bodyPr wrap="square" rtlCol="0">
            <a:spAutoFit/>
          </a:bodyPr>
          <a:lstStyle/>
          <a:p>
            <a:pPr algn="ctr"/>
            <a:r>
              <a:rPr lang="en-US" sz="2000" b="1" dirty="0"/>
              <a:t>4</a:t>
            </a:r>
            <a:r>
              <a:rPr lang="en-US" sz="2000" b="1" baseline="30000" dirty="0"/>
              <a:t>th</a:t>
            </a:r>
            <a:endParaRPr lang="en-US" sz="2000" b="1" dirty="0"/>
          </a:p>
          <a:p>
            <a:pPr algn="ctr"/>
            <a:endParaRPr lang="en-US" sz="1600" dirty="0"/>
          </a:p>
          <a:p>
            <a:pPr algn="ctr"/>
            <a:r>
              <a:rPr lang="en-US" sz="1600" dirty="0"/>
              <a:t>91%</a:t>
            </a:r>
          </a:p>
        </p:txBody>
      </p:sp>
      <p:sp>
        <p:nvSpPr>
          <p:cNvPr id="11" name="TextBox 10">
            <a:extLst>
              <a:ext uri="{FF2B5EF4-FFF2-40B4-BE49-F238E27FC236}">
                <a16:creationId xmlns:a16="http://schemas.microsoft.com/office/drawing/2014/main" id="{6372D103-6ABA-8574-2D7B-80D079357A5E}"/>
              </a:ext>
            </a:extLst>
          </p:cNvPr>
          <p:cNvSpPr txBox="1"/>
          <p:nvPr/>
        </p:nvSpPr>
        <p:spPr>
          <a:xfrm>
            <a:off x="8490031" y="5454891"/>
            <a:ext cx="1197981" cy="892552"/>
          </a:xfrm>
          <a:prstGeom prst="rect">
            <a:avLst/>
          </a:prstGeom>
          <a:solidFill>
            <a:schemeClr val="bg1">
              <a:lumMod val="95000"/>
            </a:schemeClr>
          </a:solidFill>
        </p:spPr>
        <p:txBody>
          <a:bodyPr wrap="square" rtlCol="0">
            <a:spAutoFit/>
          </a:bodyPr>
          <a:lstStyle/>
          <a:p>
            <a:pPr algn="ctr"/>
            <a:r>
              <a:rPr lang="en-US" sz="2000" b="1" dirty="0"/>
              <a:t>5</a:t>
            </a:r>
            <a:r>
              <a:rPr lang="en-US" sz="2000" b="1" baseline="30000" dirty="0"/>
              <a:t>th</a:t>
            </a:r>
            <a:endParaRPr lang="en-US" sz="2000" b="1" dirty="0"/>
          </a:p>
          <a:p>
            <a:pPr algn="ctr"/>
            <a:endParaRPr lang="en-US" sz="1600" dirty="0"/>
          </a:p>
          <a:p>
            <a:pPr algn="ctr"/>
            <a:r>
              <a:rPr lang="en-US" sz="1600" dirty="0"/>
              <a:t>90%</a:t>
            </a:r>
          </a:p>
        </p:txBody>
      </p:sp>
      <p:sp>
        <p:nvSpPr>
          <p:cNvPr id="12" name="TextBox 11">
            <a:extLst>
              <a:ext uri="{FF2B5EF4-FFF2-40B4-BE49-F238E27FC236}">
                <a16:creationId xmlns:a16="http://schemas.microsoft.com/office/drawing/2014/main" id="{95C9195B-68D2-3E2D-7873-8423645491E0}"/>
              </a:ext>
            </a:extLst>
          </p:cNvPr>
          <p:cNvSpPr txBox="1"/>
          <p:nvPr/>
        </p:nvSpPr>
        <p:spPr>
          <a:xfrm>
            <a:off x="2118166" y="5454891"/>
            <a:ext cx="1243524" cy="892552"/>
          </a:xfrm>
          <a:prstGeom prst="rect">
            <a:avLst/>
          </a:prstGeom>
          <a:solidFill>
            <a:schemeClr val="tx1">
              <a:lumMod val="95000"/>
              <a:lumOff val="5000"/>
            </a:schemeClr>
          </a:solidFill>
        </p:spPr>
        <p:txBody>
          <a:bodyPr wrap="square" rtlCol="0">
            <a:spAutoFit/>
          </a:bodyPr>
          <a:lstStyle/>
          <a:p>
            <a:pPr algn="ctr"/>
            <a:r>
              <a:rPr lang="en-US" sz="2000" b="1" dirty="0"/>
              <a:t>1</a:t>
            </a:r>
            <a:r>
              <a:rPr lang="en-US" sz="2000" b="1" baseline="30000" dirty="0"/>
              <a:t>st</a:t>
            </a:r>
            <a:endParaRPr lang="en-US" sz="2000" b="1" dirty="0"/>
          </a:p>
          <a:p>
            <a:pPr algn="ctr"/>
            <a:endParaRPr lang="en-US" sz="1600" dirty="0">
              <a:solidFill>
                <a:schemeClr val="bg1"/>
              </a:solidFill>
            </a:endParaRPr>
          </a:p>
          <a:p>
            <a:pPr algn="ctr"/>
            <a:r>
              <a:rPr lang="en-US" sz="1600" dirty="0">
                <a:solidFill>
                  <a:schemeClr val="bg1"/>
                </a:solidFill>
              </a:rPr>
              <a:t>Accuracy</a:t>
            </a:r>
          </a:p>
        </p:txBody>
      </p:sp>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Tree>
    <p:extLst>
      <p:ext uri="{BB962C8B-B14F-4D97-AF65-F5344CB8AC3E}">
        <p14:creationId xmlns:p14="http://schemas.microsoft.com/office/powerpoint/2010/main" val="177738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Warts and All</a:t>
            </a:r>
          </a:p>
        </p:txBody>
      </p:sp>
      <p:pic>
        <p:nvPicPr>
          <p:cNvPr id="14" name="Picture 10" descr="Streamlit logo on light background">
            <a:hlinkClick r:id="rId3"/>
            <a:extLst>
              <a:ext uri="{FF2B5EF4-FFF2-40B4-BE49-F238E27FC236}">
                <a16:creationId xmlns:a16="http://schemas.microsoft.com/office/drawing/2014/main" id="{BBD83F7D-06E2-82DB-76F6-441F12ABE8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8657" y="866213"/>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612C28F-07DC-CD86-F5A9-8FED2AEDA360}"/>
              </a:ext>
            </a:extLst>
          </p:cNvPr>
          <p:cNvSpPr txBox="1"/>
          <p:nvPr/>
        </p:nvSpPr>
        <p:spPr>
          <a:xfrm>
            <a:off x="330653" y="1737153"/>
            <a:ext cx="11311617" cy="307777"/>
          </a:xfrm>
          <a:prstGeom prst="rect">
            <a:avLst/>
          </a:prstGeom>
          <a:noFill/>
        </p:spPr>
        <p:txBody>
          <a:bodyPr wrap="square">
            <a:spAutoFit/>
          </a:bodyPr>
          <a:lstStyle/>
          <a:p>
            <a:r>
              <a:rPr lang="en-US" sz="1400" b="1" dirty="0"/>
              <a:t>Title:</a:t>
            </a:r>
            <a:r>
              <a:rPr lang="en-US" sz="1400" dirty="0"/>
              <a:t> Endangered </a:t>
            </a:r>
            <a:r>
              <a:rPr lang="en-US" sz="1400" dirty="0">
                <a:solidFill>
                  <a:schemeClr val="tx2">
                    <a:lumMod val="50000"/>
                    <a:lumOff val="50000"/>
                  </a:schemeClr>
                </a:solidFill>
              </a:rPr>
              <a:t>Rabbit</a:t>
            </a:r>
            <a:r>
              <a:rPr lang="en-US" sz="1400" dirty="0"/>
              <a:t> Species Successfully Bred in Captivity at </a:t>
            </a:r>
            <a:r>
              <a:rPr lang="en-US" sz="1400" dirty="0" err="1">
                <a:solidFill>
                  <a:schemeClr val="accent5">
                    <a:lumMod val="60000"/>
                    <a:lumOff val="40000"/>
                  </a:schemeClr>
                </a:solidFill>
              </a:rPr>
              <a:t>Sawubona</a:t>
            </a:r>
            <a:r>
              <a:rPr lang="en-US" sz="1400" dirty="0">
                <a:solidFill>
                  <a:schemeClr val="accent5">
                    <a:lumMod val="60000"/>
                    <a:lumOff val="40000"/>
                  </a:schemeClr>
                </a:solidFill>
              </a:rPr>
              <a:t> Zoo</a:t>
            </a:r>
            <a:r>
              <a:rPr lang="en-US" sz="1400" dirty="0"/>
              <a:t>, South Africa</a:t>
            </a:r>
          </a:p>
        </p:txBody>
      </p:sp>
      <p:cxnSp>
        <p:nvCxnSpPr>
          <p:cNvPr id="6" name="Straight Connector 5">
            <a:extLst>
              <a:ext uri="{FF2B5EF4-FFF2-40B4-BE49-F238E27FC236}">
                <a16:creationId xmlns:a16="http://schemas.microsoft.com/office/drawing/2014/main" id="{E5FC21C3-833B-537B-CE14-B10DEF4632EF}"/>
              </a:ext>
            </a:extLst>
          </p:cNvPr>
          <p:cNvCxnSpPr/>
          <p:nvPr/>
        </p:nvCxnSpPr>
        <p:spPr>
          <a:xfrm>
            <a:off x="330653" y="1608576"/>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386ECB88-AB53-0E64-8907-BED34FC452EC}"/>
              </a:ext>
            </a:extLst>
          </p:cNvPr>
          <p:cNvCxnSpPr/>
          <p:nvPr/>
        </p:nvCxnSpPr>
        <p:spPr>
          <a:xfrm>
            <a:off x="330653" y="2152865"/>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CF60653-D840-3EC4-0731-C1A32FBD4C73}"/>
              </a:ext>
            </a:extLst>
          </p:cNvPr>
          <p:cNvSpPr txBox="1"/>
          <p:nvPr/>
        </p:nvSpPr>
        <p:spPr>
          <a:xfrm>
            <a:off x="330653" y="2254074"/>
            <a:ext cx="11678467" cy="4401205"/>
          </a:xfrm>
          <a:prstGeom prst="rect">
            <a:avLst/>
          </a:prstGeom>
          <a:noFill/>
        </p:spPr>
        <p:txBody>
          <a:bodyPr wrap="square">
            <a:spAutoFit/>
          </a:bodyPr>
          <a:lstStyle/>
          <a:p>
            <a:r>
              <a:rPr lang="en-US" sz="1400" b="1" dirty="0"/>
              <a:t>Article Text:</a:t>
            </a:r>
            <a:endParaRPr lang="en-US" sz="1400" dirty="0"/>
          </a:p>
          <a:p>
            <a:r>
              <a:rPr lang="en-US" sz="1400" dirty="0"/>
              <a:t>In a monumental achievement for wildlife conservation, </a:t>
            </a:r>
            <a:r>
              <a:rPr lang="en-US" sz="1400" dirty="0" err="1"/>
              <a:t>Sawubona</a:t>
            </a:r>
            <a:r>
              <a:rPr lang="en-US" sz="1400" dirty="0"/>
              <a:t> Zoo in </a:t>
            </a:r>
            <a:r>
              <a:rPr lang="en-US" sz="1400" dirty="0">
                <a:solidFill>
                  <a:schemeClr val="accent2">
                    <a:lumMod val="75000"/>
                  </a:schemeClr>
                </a:solidFill>
              </a:rPr>
              <a:t>Port Shepstone</a:t>
            </a:r>
            <a:r>
              <a:rPr lang="en-US" sz="1400" dirty="0"/>
              <a:t>, South Africa, has successfully bred an endangered rabbit </a:t>
            </a:r>
            <a:r>
              <a:rPr lang="en-US" sz="1400" dirty="0">
                <a:solidFill>
                  <a:schemeClr val="tx2">
                    <a:lumMod val="50000"/>
                    <a:lumOff val="50000"/>
                  </a:schemeClr>
                </a:solidFill>
              </a:rPr>
              <a:t>species</a:t>
            </a:r>
            <a:r>
              <a:rPr lang="en-US" sz="1400" dirty="0"/>
              <a:t> in captivity. This marks a significant breakthrough in efforts to conserve and protect the species, which has faced declining populations in the wild.</a:t>
            </a:r>
          </a:p>
          <a:p>
            <a:endParaRPr lang="en-US" sz="1400" dirty="0"/>
          </a:p>
          <a:p>
            <a:pPr algn="just"/>
            <a:r>
              <a:rPr lang="en-US" sz="1400" dirty="0"/>
              <a:t>The birth took place under the expert supervision of Thandeka Ndlovu, the Chief Zookeeper at </a:t>
            </a:r>
            <a:r>
              <a:rPr lang="en-US" sz="1400" dirty="0" err="1"/>
              <a:t>Sawubona</a:t>
            </a:r>
            <a:r>
              <a:rPr lang="en-US" sz="1400" dirty="0"/>
              <a:t> Zoo, who has led the conservation project for over a decade. "This is a milestone in our efforts to save this species from extinction," Ndlovu said. "Breeding rabbits in captivity has always been a challenge, but our team’s dedication and </a:t>
            </a:r>
            <a:r>
              <a:rPr lang="en-US" sz="1400" dirty="0">
                <a:solidFill>
                  <a:schemeClr val="accent5">
                    <a:lumMod val="60000"/>
                    <a:lumOff val="40000"/>
                  </a:schemeClr>
                </a:solidFill>
              </a:rPr>
              <a:t>innovative techniques</a:t>
            </a:r>
            <a:r>
              <a:rPr lang="en-US" sz="1400" dirty="0"/>
              <a:t> have made this success possible.“</a:t>
            </a:r>
          </a:p>
          <a:p>
            <a:pPr algn="just"/>
            <a:endParaRPr lang="en-US" sz="1400" dirty="0"/>
          </a:p>
          <a:p>
            <a:r>
              <a:rPr lang="en-US" sz="1400" dirty="0"/>
              <a:t>The newborn rabbit, a member of a critically endangered species, is in excellent health and is already becoming accustomed to its new environment. The team at </a:t>
            </a:r>
            <a:r>
              <a:rPr lang="en-US" sz="1400" dirty="0" err="1"/>
              <a:t>Sawubona</a:t>
            </a:r>
            <a:r>
              <a:rPr lang="en-US" sz="1400" dirty="0"/>
              <a:t> Zoo has been working tirelessly to create conditions that mimic the rabbit's natural habitat, ensuring that the mother and her offspring are comfortable and secure.</a:t>
            </a:r>
          </a:p>
          <a:p>
            <a:endParaRPr lang="en-US" sz="1400" dirty="0"/>
          </a:p>
          <a:p>
            <a:r>
              <a:rPr lang="en-US" sz="1400" dirty="0"/>
              <a:t>"We’ve been studying the behavioral patterns and needs of these rabbits for years, and this birth is the culmination of our hard work," Ndlovu explained. "This success gives us hope for the future of this species, and we’re excited to see what comes next.“ The zoo plans to continue its breeding program, with the hope of eventually reintroducing these rabbits into their natural habitats. </a:t>
            </a:r>
            <a:r>
              <a:rPr lang="en-US" sz="1400" dirty="0" err="1"/>
              <a:t>Sawubona</a:t>
            </a:r>
            <a:r>
              <a:rPr lang="en-US" sz="1400" dirty="0"/>
              <a:t> Zoo is inviting the public to learn more about the conservation efforts and to witness this rare and special event firsthand.</a:t>
            </a:r>
          </a:p>
          <a:p>
            <a:endParaRPr lang="en-US" sz="1400" dirty="0"/>
          </a:p>
          <a:p>
            <a:r>
              <a:rPr lang="en-US" sz="1400" dirty="0"/>
              <a:t>The successful breeding at </a:t>
            </a:r>
            <a:r>
              <a:rPr lang="en-US" sz="1400" dirty="0" err="1"/>
              <a:t>Sawubona</a:t>
            </a:r>
            <a:r>
              <a:rPr lang="en-US" sz="1400" dirty="0"/>
              <a:t> Zoo is being hailed as a major step forward in the fight to protect endangered species. Thandeka Ndlovu and her team are committed to continuing their work to ensure that future generations will be able to witness these incredible animals in the wild.</a:t>
            </a:r>
          </a:p>
        </p:txBody>
      </p:sp>
    </p:spTree>
    <p:extLst>
      <p:ext uri="{BB962C8B-B14F-4D97-AF65-F5344CB8AC3E}">
        <p14:creationId xmlns:p14="http://schemas.microsoft.com/office/powerpoint/2010/main" val="1749171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20D5D8-F268-B530-4CA7-371DFB5553A6}"/>
              </a:ext>
            </a:extLst>
          </p:cNvPr>
          <p:cNvGraphicFramePr>
            <a:graphicFrameLocks noChangeAspect="1"/>
          </p:cNvGraphicFramePr>
          <p:nvPr>
            <p:custDataLst>
              <p:tags r:id="rId1"/>
            </p:custDataLst>
            <p:extLst>
              <p:ext uri="{D42A27DB-BD31-4B8C-83A1-F6EECF244321}">
                <p14:modId xmlns:p14="http://schemas.microsoft.com/office/powerpoint/2010/main" val="411718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7" name="think-cell data - do not delete" hidden="1">
                        <a:extLst>
                          <a:ext uri="{FF2B5EF4-FFF2-40B4-BE49-F238E27FC236}">
                            <a16:creationId xmlns:a16="http://schemas.microsoft.com/office/drawing/2014/main" id="{8920D5D8-F268-B530-4CA7-371DFB5553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descr="Magnifying glass with solid fill">
            <a:extLst>
              <a:ext uri="{FF2B5EF4-FFF2-40B4-BE49-F238E27FC236}">
                <a16:creationId xmlns:a16="http://schemas.microsoft.com/office/drawing/2014/main" id="{00ACA858-C885-EF74-F6B8-0896FFA318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028" y="279431"/>
            <a:ext cx="1469088" cy="1469088"/>
          </a:xfrm>
          <a:prstGeom prst="rect">
            <a:avLst/>
          </a:prstGeom>
        </p:spPr>
      </p:pic>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Let’s do some sleuthing…</a:t>
            </a:r>
          </a:p>
        </p:txBody>
      </p:sp>
      <p:pic>
        <p:nvPicPr>
          <p:cNvPr id="6" name="Picture 5">
            <a:extLst>
              <a:ext uri="{FF2B5EF4-FFF2-40B4-BE49-F238E27FC236}">
                <a16:creationId xmlns:a16="http://schemas.microsoft.com/office/drawing/2014/main" id="{3A0AD45B-024B-7EA4-525A-1555DB2940BB}"/>
              </a:ext>
            </a:extLst>
          </p:cNvPr>
          <p:cNvPicPr>
            <a:picLocks noChangeAspect="1"/>
          </p:cNvPicPr>
          <p:nvPr/>
        </p:nvPicPr>
        <p:blipFill rotWithShape="1">
          <a:blip r:embed="rId8"/>
          <a:srcRect l="753" r="53071"/>
          <a:stretch/>
        </p:blipFill>
        <p:spPr>
          <a:xfrm>
            <a:off x="47159" y="1699892"/>
            <a:ext cx="6142404" cy="3618676"/>
          </a:xfrm>
          <a:prstGeom prst="rect">
            <a:avLst/>
          </a:prstGeom>
        </p:spPr>
      </p:pic>
      <p:pic>
        <p:nvPicPr>
          <p:cNvPr id="2" name="Picture 1">
            <a:extLst>
              <a:ext uri="{FF2B5EF4-FFF2-40B4-BE49-F238E27FC236}">
                <a16:creationId xmlns:a16="http://schemas.microsoft.com/office/drawing/2014/main" id="{60302D96-A22F-0177-B1CE-4A992A439DB4}"/>
              </a:ext>
            </a:extLst>
          </p:cNvPr>
          <p:cNvPicPr>
            <a:picLocks noChangeAspect="1"/>
          </p:cNvPicPr>
          <p:nvPr/>
        </p:nvPicPr>
        <p:blipFill rotWithShape="1">
          <a:blip r:embed="rId8"/>
          <a:srcRect l="53823"/>
          <a:stretch/>
        </p:blipFill>
        <p:spPr>
          <a:xfrm>
            <a:off x="6069186" y="1655426"/>
            <a:ext cx="6142404" cy="3618676"/>
          </a:xfrm>
          <a:prstGeom prst="rect">
            <a:avLst/>
          </a:prstGeom>
        </p:spPr>
      </p:pic>
      <p:sp>
        <p:nvSpPr>
          <p:cNvPr id="8" name="Oval 7">
            <a:extLst>
              <a:ext uri="{FF2B5EF4-FFF2-40B4-BE49-F238E27FC236}">
                <a16:creationId xmlns:a16="http://schemas.microsoft.com/office/drawing/2014/main" id="{E3AD0EF1-D4F7-73CD-66FE-391EC0DA5B3C}"/>
              </a:ext>
            </a:extLst>
          </p:cNvPr>
          <p:cNvSpPr/>
          <p:nvPr/>
        </p:nvSpPr>
        <p:spPr>
          <a:xfrm>
            <a:off x="10637520" y="411292"/>
            <a:ext cx="929166" cy="945067"/>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390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74</TotalTime>
  <Words>1378</Words>
  <Application>Microsoft Office PowerPoint</Application>
  <PresentationFormat>Widescreen</PresentationFormat>
  <Paragraphs>207</Paragraphs>
  <Slides>10</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ptos</vt:lpstr>
      <vt:lpstr>Aptos Display</vt:lpstr>
      <vt:lpstr>Arial</vt:lpstr>
      <vt:lpstr>Calibri</vt:lpstr>
      <vt:lpstr>Calibri Light</vt:lpstr>
      <vt:lpstr>Posterama</vt:lpstr>
      <vt:lpstr>Wingdings</vt:lpstr>
      <vt:lpstr>Office Theme</vt:lpstr>
      <vt:lpstr>Office Theme</vt:lpstr>
      <vt:lpstr>think-cell Slide</vt:lpstr>
      <vt:lpstr>FAKE NEWS DETECTIV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mmy Powell</dc:creator>
  <cp:lastModifiedBy>Tammy Powell</cp:lastModifiedBy>
  <cp:revision>21</cp:revision>
  <dcterms:created xsi:type="dcterms:W3CDTF">2024-08-22T11:31:06Z</dcterms:created>
  <dcterms:modified xsi:type="dcterms:W3CDTF">2024-08-29T07: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4-08-27T13:35:10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bb352f66-f0be-4336-bef5-28b2481bf0f6</vt:lpwstr>
  </property>
  <property fmtid="{D5CDD505-2E9C-101B-9397-08002B2CF9AE}" pid="8" name="MSIP_Label_e3f2a5e4-10d8-4dfe-8082-7352c27520cb_ContentBits">
    <vt:lpwstr>1</vt:lpwstr>
  </property>
  <property fmtid="{D5CDD505-2E9C-101B-9397-08002B2CF9AE}" pid="9" name="ClassificationContentMarkingHeaderLocations">
    <vt:lpwstr>Office Theme:8\Office Theme:10</vt:lpwstr>
  </property>
  <property fmtid="{D5CDD505-2E9C-101B-9397-08002B2CF9AE}" pid="10" name="ClassificationContentMarkingHeaderText">
    <vt:lpwstr>[OFFICIAL]</vt:lpwstr>
  </property>
</Properties>
</file>